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9"/>
  </p:notesMasterIdLst>
  <p:sldIdLst>
    <p:sldId id="257" r:id="rId2"/>
    <p:sldId id="313" r:id="rId3"/>
    <p:sldId id="301" r:id="rId4"/>
    <p:sldId id="333" r:id="rId5"/>
    <p:sldId id="336" r:id="rId6"/>
    <p:sldId id="258" r:id="rId7"/>
    <p:sldId id="304" r:id="rId8"/>
    <p:sldId id="337" r:id="rId9"/>
    <p:sldId id="338" r:id="rId10"/>
    <p:sldId id="339" r:id="rId11"/>
    <p:sldId id="323" r:id="rId12"/>
    <p:sldId id="302" r:id="rId13"/>
    <p:sldId id="327" r:id="rId14"/>
    <p:sldId id="329" r:id="rId15"/>
    <p:sldId id="330" r:id="rId16"/>
    <p:sldId id="332" r:id="rId17"/>
    <p:sldId id="331" r:id="rId18"/>
    <p:sldId id="325" r:id="rId19"/>
    <p:sldId id="305" r:id="rId20"/>
    <p:sldId id="335" r:id="rId21"/>
    <p:sldId id="309" r:id="rId22"/>
    <p:sldId id="312" r:id="rId23"/>
    <p:sldId id="318" r:id="rId24"/>
    <p:sldId id="319" r:id="rId25"/>
    <p:sldId id="298" r:id="rId26"/>
    <p:sldId id="322" r:id="rId27"/>
    <p:sldId id="287" r:id="rId2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FB80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4995" autoAdjust="0"/>
    <p:restoredTop sz="93883" autoAdjust="0"/>
  </p:normalViewPr>
  <p:slideViewPr>
    <p:cSldViewPr snapToGrid="0">
      <p:cViewPr varScale="1">
        <p:scale>
          <a:sx n="62" d="100"/>
          <a:sy n="62" d="100"/>
        </p:scale>
        <p:origin x="-1398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A581D3-6869-468A-8F8B-8286F121D827}" type="doc">
      <dgm:prSet loTypeId="urn:microsoft.com/office/officeart/2005/8/layout/cycle4#1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90703676-1E4E-4E2C-8C49-A768B57B6940}">
      <dgm:prSet phldrT="[Text]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/>
            <a:t>Pristine</a:t>
          </a:r>
        </a:p>
      </dgm:t>
    </dgm:pt>
    <dgm:pt modelId="{E32FCF2A-B9D0-4918-A051-B07BF8F075E7}" type="parTrans" cxnId="{29DCFDDC-79A1-4C21-8052-AFE7862E39E2}">
      <dgm:prSet/>
      <dgm:spPr/>
      <dgm:t>
        <a:bodyPr/>
        <a:lstStyle/>
        <a:p>
          <a:endParaRPr lang="en-US"/>
        </a:p>
      </dgm:t>
    </dgm:pt>
    <dgm:pt modelId="{4830C0F2-643B-4B6F-9020-E954BCC64AF1}" type="sibTrans" cxnId="{29DCFDDC-79A1-4C21-8052-AFE7862E39E2}">
      <dgm:prSet/>
      <dgm:spPr/>
      <dgm:t>
        <a:bodyPr/>
        <a:lstStyle/>
        <a:p>
          <a:endParaRPr lang="en-US"/>
        </a:p>
      </dgm:t>
    </dgm:pt>
    <dgm:pt modelId="{524020CB-C1CB-4E66-9D2F-0DF5223BFC9E}">
      <dgm:prSet phldrT="[Text]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/>
            <a:t>Innovation</a:t>
          </a:r>
        </a:p>
      </dgm:t>
    </dgm:pt>
    <dgm:pt modelId="{60C45D87-1148-443F-9D6E-01F8F6683A03}" type="parTrans" cxnId="{9DB41A97-3CB4-4C19-A8A8-AFCC62E67422}">
      <dgm:prSet/>
      <dgm:spPr/>
      <dgm:t>
        <a:bodyPr/>
        <a:lstStyle/>
        <a:p>
          <a:endParaRPr lang="en-US"/>
        </a:p>
      </dgm:t>
    </dgm:pt>
    <dgm:pt modelId="{5BC94BFE-E738-4E76-AB47-5D9C84F3B6CB}" type="sibTrans" cxnId="{9DB41A97-3CB4-4C19-A8A8-AFCC62E67422}">
      <dgm:prSet/>
      <dgm:spPr/>
      <dgm:t>
        <a:bodyPr/>
        <a:lstStyle/>
        <a:p>
          <a:endParaRPr lang="en-US"/>
        </a:p>
      </dgm:t>
    </dgm:pt>
    <dgm:pt modelId="{7269FD1A-E13B-4E81-9405-FA8C8556ABCE}">
      <dgm:prSet phldrT="[Text]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/>
            <a:t>Infrastructure</a:t>
          </a:r>
        </a:p>
      </dgm:t>
    </dgm:pt>
    <dgm:pt modelId="{A00E0D19-B6ED-4C64-B26C-BAF056AECB5C}" type="parTrans" cxnId="{DD67C818-8919-44E6-829E-A2B1F7D7E5D6}">
      <dgm:prSet/>
      <dgm:spPr/>
      <dgm:t>
        <a:bodyPr/>
        <a:lstStyle/>
        <a:p>
          <a:endParaRPr lang="en-US"/>
        </a:p>
      </dgm:t>
    </dgm:pt>
    <dgm:pt modelId="{86B7505D-4C0F-4B38-BDA9-428AC1B6162F}" type="sibTrans" cxnId="{DD67C818-8919-44E6-829E-A2B1F7D7E5D6}">
      <dgm:prSet/>
      <dgm:spPr/>
      <dgm:t>
        <a:bodyPr/>
        <a:lstStyle/>
        <a:p>
          <a:endParaRPr lang="en-US"/>
        </a:p>
      </dgm:t>
    </dgm:pt>
    <dgm:pt modelId="{0EDC15BA-5A50-43D1-97C9-446C14533047}">
      <dgm:prSet phldrT="[Text]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/>
            <a:t>Bandwidth</a:t>
          </a:r>
        </a:p>
      </dgm:t>
    </dgm:pt>
    <dgm:pt modelId="{6FBF1A32-D172-498F-A259-B3292FA89755}" type="parTrans" cxnId="{A6FD3163-91C0-4B57-AC44-4A37B040C8CE}">
      <dgm:prSet/>
      <dgm:spPr/>
      <dgm:t>
        <a:bodyPr/>
        <a:lstStyle/>
        <a:p>
          <a:endParaRPr lang="en-US"/>
        </a:p>
      </dgm:t>
    </dgm:pt>
    <dgm:pt modelId="{938BCD59-EEC0-4CFB-97CF-57E24A3CBB5F}" type="sibTrans" cxnId="{A6FD3163-91C0-4B57-AC44-4A37B040C8CE}">
      <dgm:prSet/>
      <dgm:spPr/>
      <dgm:t>
        <a:bodyPr/>
        <a:lstStyle/>
        <a:p>
          <a:endParaRPr lang="en-US"/>
        </a:p>
      </dgm:t>
    </dgm:pt>
    <dgm:pt modelId="{CE9687ED-73C7-4135-B701-6DC440106ABB}">
      <dgm:prSet phldrT="[Text]"/>
      <dgm:spPr/>
      <dgm:t>
        <a:bodyPr/>
        <a:lstStyle/>
        <a:p>
          <a:endParaRPr lang="en-US" dirty="0"/>
        </a:p>
      </dgm:t>
    </dgm:pt>
    <dgm:pt modelId="{7E61A251-8247-4A09-886B-82F0D26F7CC3}" type="parTrans" cxnId="{2166A51F-8F64-4CE9-AF74-714AF3235D71}">
      <dgm:prSet/>
      <dgm:spPr/>
      <dgm:t>
        <a:bodyPr/>
        <a:lstStyle/>
        <a:p>
          <a:endParaRPr lang="en-US"/>
        </a:p>
      </dgm:t>
    </dgm:pt>
    <dgm:pt modelId="{997B7E38-E89A-4638-9FF8-3041EC1DC260}" type="sibTrans" cxnId="{2166A51F-8F64-4CE9-AF74-714AF3235D71}">
      <dgm:prSet/>
      <dgm:spPr/>
      <dgm:t>
        <a:bodyPr/>
        <a:lstStyle/>
        <a:p>
          <a:endParaRPr lang="en-US"/>
        </a:p>
      </dgm:t>
    </dgm:pt>
    <dgm:pt modelId="{23DE7CC6-0CEE-44D4-A465-A604E6816C96}" type="pres">
      <dgm:prSet presAssocID="{6FA581D3-6869-468A-8F8B-8286F121D827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0EBDDD3D-2479-483D-9EE3-DEF47B486139}" type="pres">
      <dgm:prSet presAssocID="{6FA581D3-6869-468A-8F8B-8286F121D827}" presName="children" presStyleCnt="0"/>
      <dgm:spPr/>
    </dgm:pt>
    <dgm:pt modelId="{57EE897B-1202-4F22-812D-18CC8A9B07D1}" type="pres">
      <dgm:prSet presAssocID="{6FA581D3-6869-468A-8F8B-8286F121D827}" presName="childPlaceholder" presStyleCnt="0"/>
      <dgm:spPr/>
    </dgm:pt>
    <dgm:pt modelId="{322EBB2C-DE58-48E2-8DE2-792D5ED0693B}" type="pres">
      <dgm:prSet presAssocID="{6FA581D3-6869-468A-8F8B-8286F121D827}" presName="circle" presStyleCnt="0"/>
      <dgm:spPr/>
    </dgm:pt>
    <dgm:pt modelId="{644F906E-5F82-48B5-AD15-2E1E61B564C0}" type="pres">
      <dgm:prSet presAssocID="{6FA581D3-6869-468A-8F8B-8286F121D827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5CE1ED5-1CBC-4E63-9358-4F432F502C89}" type="pres">
      <dgm:prSet presAssocID="{6FA581D3-6869-468A-8F8B-8286F121D827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88C4CBB-1EBE-4E01-9A63-CD210A0D5171}" type="pres">
      <dgm:prSet presAssocID="{6FA581D3-6869-468A-8F8B-8286F121D827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4B1D087-850E-4F14-A95D-4033EE367E7E}" type="pres">
      <dgm:prSet presAssocID="{6FA581D3-6869-468A-8F8B-8286F121D827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D6A1851-663E-432B-A7C8-89CC82F17D65}" type="pres">
      <dgm:prSet presAssocID="{6FA581D3-6869-468A-8F8B-8286F121D827}" presName="quadrantPlaceholder" presStyleCnt="0"/>
      <dgm:spPr/>
    </dgm:pt>
    <dgm:pt modelId="{BC3E7DD8-DE76-4FA7-A53D-7166A5A65D64}" type="pres">
      <dgm:prSet presAssocID="{6FA581D3-6869-468A-8F8B-8286F121D827}" presName="center1" presStyleLbl="fgShp" presStyleIdx="0" presStyleCnt="2"/>
      <dgm:spPr/>
    </dgm:pt>
    <dgm:pt modelId="{6E5D2A60-5922-4939-B95C-1E6C507E8647}" type="pres">
      <dgm:prSet presAssocID="{6FA581D3-6869-468A-8F8B-8286F121D827}" presName="center2" presStyleLbl="fgShp" presStyleIdx="1" presStyleCnt="2"/>
      <dgm:spPr/>
    </dgm:pt>
  </dgm:ptLst>
  <dgm:cxnLst>
    <dgm:cxn modelId="{2764ADC7-1E64-4140-8BE5-7F4E7C86697F}" type="presOf" srcId="{0EDC15BA-5A50-43D1-97C9-446C14533047}" destId="{F4B1D087-850E-4F14-A95D-4033EE367E7E}" srcOrd="0" destOrd="0" presId="urn:microsoft.com/office/officeart/2005/8/layout/cycle4#1"/>
    <dgm:cxn modelId="{9694E0E5-52E2-443D-85BA-0938A57D0B3B}" type="presOf" srcId="{6FA581D3-6869-468A-8F8B-8286F121D827}" destId="{23DE7CC6-0CEE-44D4-A465-A604E6816C96}" srcOrd="0" destOrd="0" presId="urn:microsoft.com/office/officeart/2005/8/layout/cycle4#1"/>
    <dgm:cxn modelId="{2BAE9D61-1338-4DC2-B2D7-B3358ACDFBFF}" type="presOf" srcId="{90703676-1E4E-4E2C-8C49-A768B57B6940}" destId="{644F906E-5F82-48B5-AD15-2E1E61B564C0}" srcOrd="0" destOrd="0" presId="urn:microsoft.com/office/officeart/2005/8/layout/cycle4#1"/>
    <dgm:cxn modelId="{B200BFDA-41A2-4252-B66B-330FE98B4682}" type="presOf" srcId="{7269FD1A-E13B-4E81-9405-FA8C8556ABCE}" destId="{188C4CBB-1EBE-4E01-9A63-CD210A0D5171}" srcOrd="0" destOrd="0" presId="urn:microsoft.com/office/officeart/2005/8/layout/cycle4#1"/>
    <dgm:cxn modelId="{0EFAB0D4-360E-4ADC-B7CF-197D39B776D9}" type="presOf" srcId="{524020CB-C1CB-4E66-9D2F-0DF5223BFC9E}" destId="{E5CE1ED5-1CBC-4E63-9358-4F432F502C89}" srcOrd="0" destOrd="0" presId="urn:microsoft.com/office/officeart/2005/8/layout/cycle4#1"/>
    <dgm:cxn modelId="{2166A51F-8F64-4CE9-AF74-714AF3235D71}" srcId="{6FA581D3-6869-468A-8F8B-8286F121D827}" destId="{CE9687ED-73C7-4135-B701-6DC440106ABB}" srcOrd="4" destOrd="0" parTransId="{7E61A251-8247-4A09-886B-82F0D26F7CC3}" sibTransId="{997B7E38-E89A-4638-9FF8-3041EC1DC260}"/>
    <dgm:cxn modelId="{A6FD3163-91C0-4B57-AC44-4A37B040C8CE}" srcId="{6FA581D3-6869-468A-8F8B-8286F121D827}" destId="{0EDC15BA-5A50-43D1-97C9-446C14533047}" srcOrd="3" destOrd="0" parTransId="{6FBF1A32-D172-498F-A259-B3292FA89755}" sibTransId="{938BCD59-EEC0-4CFB-97CF-57E24A3CBB5F}"/>
    <dgm:cxn modelId="{9DB41A97-3CB4-4C19-A8A8-AFCC62E67422}" srcId="{6FA581D3-6869-468A-8F8B-8286F121D827}" destId="{524020CB-C1CB-4E66-9D2F-0DF5223BFC9E}" srcOrd="1" destOrd="0" parTransId="{60C45D87-1148-443F-9D6E-01F8F6683A03}" sibTransId="{5BC94BFE-E738-4E76-AB47-5D9C84F3B6CB}"/>
    <dgm:cxn modelId="{29DCFDDC-79A1-4C21-8052-AFE7862E39E2}" srcId="{6FA581D3-6869-468A-8F8B-8286F121D827}" destId="{90703676-1E4E-4E2C-8C49-A768B57B6940}" srcOrd="0" destOrd="0" parTransId="{E32FCF2A-B9D0-4918-A051-B07BF8F075E7}" sibTransId="{4830C0F2-643B-4B6F-9020-E954BCC64AF1}"/>
    <dgm:cxn modelId="{DD67C818-8919-44E6-829E-A2B1F7D7E5D6}" srcId="{6FA581D3-6869-468A-8F8B-8286F121D827}" destId="{7269FD1A-E13B-4E81-9405-FA8C8556ABCE}" srcOrd="2" destOrd="0" parTransId="{A00E0D19-B6ED-4C64-B26C-BAF056AECB5C}" sibTransId="{86B7505D-4C0F-4B38-BDA9-428AC1B6162F}"/>
    <dgm:cxn modelId="{459BF32C-2D33-4625-B906-B6102FB7FB3B}" type="presParOf" srcId="{23DE7CC6-0CEE-44D4-A465-A604E6816C96}" destId="{0EBDDD3D-2479-483D-9EE3-DEF47B486139}" srcOrd="0" destOrd="0" presId="urn:microsoft.com/office/officeart/2005/8/layout/cycle4#1"/>
    <dgm:cxn modelId="{D7DE22AE-EBE9-456E-8249-493DB65AB946}" type="presParOf" srcId="{0EBDDD3D-2479-483D-9EE3-DEF47B486139}" destId="{57EE897B-1202-4F22-812D-18CC8A9B07D1}" srcOrd="0" destOrd="0" presId="urn:microsoft.com/office/officeart/2005/8/layout/cycle4#1"/>
    <dgm:cxn modelId="{08CE79B1-E8B7-4FD4-B15D-BBDB3D002582}" type="presParOf" srcId="{23DE7CC6-0CEE-44D4-A465-A604E6816C96}" destId="{322EBB2C-DE58-48E2-8DE2-792D5ED0693B}" srcOrd="1" destOrd="0" presId="urn:microsoft.com/office/officeart/2005/8/layout/cycle4#1"/>
    <dgm:cxn modelId="{6C0B9AE3-576C-4563-85E3-7FD769A3EF30}" type="presParOf" srcId="{322EBB2C-DE58-48E2-8DE2-792D5ED0693B}" destId="{644F906E-5F82-48B5-AD15-2E1E61B564C0}" srcOrd="0" destOrd="0" presId="urn:microsoft.com/office/officeart/2005/8/layout/cycle4#1"/>
    <dgm:cxn modelId="{60389DFF-22E6-484F-B33F-E0EEBB44758B}" type="presParOf" srcId="{322EBB2C-DE58-48E2-8DE2-792D5ED0693B}" destId="{E5CE1ED5-1CBC-4E63-9358-4F432F502C89}" srcOrd="1" destOrd="0" presId="urn:microsoft.com/office/officeart/2005/8/layout/cycle4#1"/>
    <dgm:cxn modelId="{2B822D56-52CA-4A91-B8B5-2D51044B7245}" type="presParOf" srcId="{322EBB2C-DE58-48E2-8DE2-792D5ED0693B}" destId="{188C4CBB-1EBE-4E01-9A63-CD210A0D5171}" srcOrd="2" destOrd="0" presId="urn:microsoft.com/office/officeart/2005/8/layout/cycle4#1"/>
    <dgm:cxn modelId="{F9FD24CC-EFAE-439F-BC37-06F3A66FE17C}" type="presParOf" srcId="{322EBB2C-DE58-48E2-8DE2-792D5ED0693B}" destId="{F4B1D087-850E-4F14-A95D-4033EE367E7E}" srcOrd="3" destOrd="0" presId="urn:microsoft.com/office/officeart/2005/8/layout/cycle4#1"/>
    <dgm:cxn modelId="{58786779-A3AA-4D67-8128-BAF31138E926}" type="presParOf" srcId="{322EBB2C-DE58-48E2-8DE2-792D5ED0693B}" destId="{5D6A1851-663E-432B-A7C8-89CC82F17D65}" srcOrd="4" destOrd="0" presId="urn:microsoft.com/office/officeart/2005/8/layout/cycle4#1"/>
    <dgm:cxn modelId="{EF36C2B6-E056-4F1F-AAF6-A8B94059A5DC}" type="presParOf" srcId="{23DE7CC6-0CEE-44D4-A465-A604E6816C96}" destId="{BC3E7DD8-DE76-4FA7-A53D-7166A5A65D64}" srcOrd="2" destOrd="0" presId="urn:microsoft.com/office/officeart/2005/8/layout/cycle4#1"/>
    <dgm:cxn modelId="{A4E93680-5FDC-4788-A128-8AC2CC69A451}" type="presParOf" srcId="{23DE7CC6-0CEE-44D4-A465-A604E6816C96}" destId="{6E5D2A60-5922-4939-B95C-1E6C507E8647}" srcOrd="3" destOrd="0" presId="urn:microsoft.com/office/officeart/2005/8/layout/cycle4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4F906E-5F82-48B5-AD15-2E1E61B564C0}">
      <dsp:nvSpPr>
        <dsp:cNvPr id="0" name=""/>
        <dsp:cNvSpPr/>
      </dsp:nvSpPr>
      <dsp:spPr>
        <a:xfrm>
          <a:off x="1247648" y="231647"/>
          <a:ext cx="1759712" cy="1759712"/>
        </a:xfrm>
        <a:prstGeom prst="pieWedge">
          <a:avLst/>
        </a:prstGeom>
        <a:gradFill rotWithShape="1">
          <a:gsLst>
            <a:gs pos="0">
              <a:schemeClr val="accent2">
                <a:shade val="51000"/>
                <a:satMod val="130000"/>
              </a:schemeClr>
            </a:gs>
            <a:gs pos="80000">
              <a:schemeClr val="accent2">
                <a:shade val="93000"/>
                <a:satMod val="130000"/>
              </a:schemeClr>
            </a:gs>
            <a:gs pos="100000">
              <a:schemeClr val="accent2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Pristine</a:t>
          </a:r>
        </a:p>
      </dsp:txBody>
      <dsp:txXfrm>
        <a:off x="1763056" y="747055"/>
        <a:ext cx="1244304" cy="1244304"/>
      </dsp:txXfrm>
    </dsp:sp>
    <dsp:sp modelId="{E5CE1ED5-1CBC-4E63-9358-4F432F502C89}">
      <dsp:nvSpPr>
        <dsp:cNvPr id="0" name=""/>
        <dsp:cNvSpPr/>
      </dsp:nvSpPr>
      <dsp:spPr>
        <a:xfrm rot="5400000">
          <a:off x="3088640" y="231647"/>
          <a:ext cx="1759712" cy="1759712"/>
        </a:xfrm>
        <a:prstGeom prst="pieWedge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4"/>
        </a:lnRef>
        <a:fillRef idx="3">
          <a:schemeClr val="accent4"/>
        </a:fillRef>
        <a:effectRef idx="2">
          <a:schemeClr val="accent4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Innovation</a:t>
          </a:r>
        </a:p>
      </dsp:txBody>
      <dsp:txXfrm rot="-5400000">
        <a:off x="3088640" y="747055"/>
        <a:ext cx="1244304" cy="1244304"/>
      </dsp:txXfrm>
    </dsp:sp>
    <dsp:sp modelId="{188C4CBB-1EBE-4E01-9A63-CD210A0D5171}">
      <dsp:nvSpPr>
        <dsp:cNvPr id="0" name=""/>
        <dsp:cNvSpPr/>
      </dsp:nvSpPr>
      <dsp:spPr>
        <a:xfrm rot="10800000">
          <a:off x="3088640" y="2072640"/>
          <a:ext cx="1759712" cy="1759712"/>
        </a:xfrm>
        <a:prstGeom prst="pieWedge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Infrastructure</a:t>
          </a:r>
        </a:p>
      </dsp:txBody>
      <dsp:txXfrm rot="10800000">
        <a:off x="3088640" y="2072640"/>
        <a:ext cx="1244304" cy="1244304"/>
      </dsp:txXfrm>
    </dsp:sp>
    <dsp:sp modelId="{F4B1D087-850E-4F14-A95D-4033EE367E7E}">
      <dsp:nvSpPr>
        <dsp:cNvPr id="0" name=""/>
        <dsp:cNvSpPr/>
      </dsp:nvSpPr>
      <dsp:spPr>
        <a:xfrm rot="16200000">
          <a:off x="1247648" y="2072640"/>
          <a:ext cx="1759712" cy="1759712"/>
        </a:xfrm>
        <a:prstGeom prst="pieWedge">
          <a:avLst/>
        </a:prstGeom>
        <a:gradFill rotWithShape="1">
          <a:gsLst>
            <a:gs pos="0">
              <a:schemeClr val="accent6">
                <a:shade val="51000"/>
                <a:satMod val="130000"/>
              </a:schemeClr>
            </a:gs>
            <a:gs pos="80000">
              <a:schemeClr val="accent6">
                <a:shade val="93000"/>
                <a:satMod val="130000"/>
              </a:schemeClr>
            </a:gs>
            <a:gs pos="100000">
              <a:schemeClr val="accent6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Bandwidth</a:t>
          </a:r>
        </a:p>
      </dsp:txBody>
      <dsp:txXfrm rot="5400000">
        <a:off x="1763056" y="2072640"/>
        <a:ext cx="1244304" cy="1244304"/>
      </dsp:txXfrm>
    </dsp:sp>
    <dsp:sp modelId="{BC3E7DD8-DE76-4FA7-A53D-7166A5A65D64}">
      <dsp:nvSpPr>
        <dsp:cNvPr id="0" name=""/>
        <dsp:cNvSpPr/>
      </dsp:nvSpPr>
      <dsp:spPr>
        <a:xfrm>
          <a:off x="2744216" y="1666240"/>
          <a:ext cx="607568" cy="528320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5D2A60-5922-4939-B95C-1E6C507E8647}">
      <dsp:nvSpPr>
        <dsp:cNvPr id="0" name=""/>
        <dsp:cNvSpPr/>
      </dsp:nvSpPr>
      <dsp:spPr>
        <a:xfrm rot="10800000">
          <a:off x="2744216" y="1869440"/>
          <a:ext cx="607568" cy="528320"/>
        </a:xfrm>
        <a:prstGeom prst="circular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#1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19C22B-AA01-4418-AF16-0E1273082E3C}" type="datetimeFigureOut">
              <a:rPr lang="en-US" smtClean="0"/>
              <a:pPr/>
              <a:t>12/2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DBB660-326C-4BB5-8D55-13ED2AE44E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735065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DBB660-326C-4BB5-8D55-13ED2AE44E6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512498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DBB660-326C-4BB5-8D55-13ED2AE44E6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22647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3" name="Rectangle 181"/>
          <p:cNvSpPr>
            <a:spLocks noChangeArrowheads="1"/>
          </p:cNvSpPr>
          <p:nvPr/>
        </p:nvSpPr>
        <p:spPr bwMode="gray">
          <a:xfrm>
            <a:off x="7854950" y="0"/>
            <a:ext cx="1289050" cy="1289304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3254" name="Rectangle 182"/>
          <p:cNvSpPr>
            <a:spLocks noChangeArrowheads="1"/>
          </p:cNvSpPr>
          <p:nvPr userDrawn="1"/>
        </p:nvSpPr>
        <p:spPr bwMode="gray">
          <a:xfrm>
            <a:off x="2609852" y="1298122"/>
            <a:ext cx="1289050" cy="1289304"/>
          </a:xfrm>
          <a:prstGeom prst="rect">
            <a:avLst/>
          </a:prstGeom>
          <a:solidFill>
            <a:schemeClr val="accent1">
              <a:alpha val="39999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3256" name="Rectangle 184"/>
          <p:cNvSpPr>
            <a:spLocks noChangeArrowheads="1"/>
          </p:cNvSpPr>
          <p:nvPr/>
        </p:nvSpPr>
        <p:spPr bwMode="gray">
          <a:xfrm>
            <a:off x="3919493" y="1298122"/>
            <a:ext cx="1289050" cy="1289304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3257" name="Rectangle 185"/>
          <p:cNvSpPr>
            <a:spLocks noChangeArrowheads="1"/>
          </p:cNvSpPr>
          <p:nvPr/>
        </p:nvSpPr>
        <p:spPr bwMode="gray">
          <a:xfrm>
            <a:off x="5235213" y="1298122"/>
            <a:ext cx="1289050" cy="1289304"/>
          </a:xfrm>
          <a:prstGeom prst="rect">
            <a:avLst/>
          </a:prstGeom>
          <a:solidFill>
            <a:srgbClr val="FD9A7B">
              <a:alpha val="24001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3259" name="Rectangle 187"/>
          <p:cNvSpPr>
            <a:spLocks noChangeArrowheads="1"/>
          </p:cNvSpPr>
          <p:nvPr/>
        </p:nvSpPr>
        <p:spPr bwMode="gray">
          <a:xfrm>
            <a:off x="5235213" y="1"/>
            <a:ext cx="1289050" cy="1271588"/>
          </a:xfrm>
          <a:prstGeom prst="rect">
            <a:avLst/>
          </a:prstGeom>
          <a:solidFill>
            <a:schemeClr val="accent2">
              <a:alpha val="60001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3263" name="Rectangle 191"/>
          <p:cNvSpPr>
            <a:spLocks noChangeArrowheads="1"/>
          </p:cNvSpPr>
          <p:nvPr/>
        </p:nvSpPr>
        <p:spPr bwMode="gray">
          <a:xfrm>
            <a:off x="6550933" y="1298122"/>
            <a:ext cx="1289050" cy="1289304"/>
          </a:xfrm>
          <a:prstGeom prst="rect">
            <a:avLst/>
          </a:prstGeom>
          <a:solidFill>
            <a:schemeClr val="accent2">
              <a:alpha val="3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 sz="1000"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96" name="Rectangle 224"/>
          <p:cNvSpPr>
            <a:spLocks noGrp="1" noChangeArrowheads="1"/>
          </p:cNvSpPr>
          <p:nvPr>
            <p:ph type="dt" sz="quarter" idx="2"/>
          </p:nvPr>
        </p:nvSpPr>
        <p:spPr/>
        <p:txBody>
          <a:bodyPr/>
          <a:lstStyle>
            <a:lvl1pPr>
              <a:defRPr sz="1000"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3297" name="Rectangle 225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 sz="1000"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C7C298F4-4719-400F-A6FD-ACF989DE86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black">
          <a:xfrm>
            <a:off x="152400" y="3371852"/>
            <a:ext cx="4876800" cy="609600"/>
          </a:xfrm>
        </p:spPr>
        <p:txBody>
          <a:bodyPr/>
          <a:lstStyle>
            <a:lvl1pPr>
              <a:defRPr sz="2400">
                <a:solidFill>
                  <a:srgbClr val="000000"/>
                </a:solidFill>
                <a:latin typeface="Segoe UI Semibold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52400" y="3981452"/>
            <a:ext cx="4876800" cy="3048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600" b="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8" name="Picture 27" descr="2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834387" y="6049061"/>
            <a:ext cx="1928613" cy="762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CE2240B9-0249-47BC-83E7-D69C3A95D3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4413" y="2022680"/>
            <a:ext cx="2556000" cy="58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2392194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325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325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325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325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32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32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32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32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53" grpId="0" animBg="1"/>
      <p:bldP spid="3254" grpId="0" animBg="1"/>
      <p:bldP spid="3256" grpId="0" animBg="1"/>
      <p:bldP spid="3257" grpId="0" animBg="1"/>
      <p:bldP spid="3259" grpId="0" animBg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E0E8CC-E569-4BBD-9DA3-98C1BF2BCA6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5498678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275232C-B784-467E-8EDE-9D244A83A9A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0062376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43700" y="285751"/>
            <a:ext cx="2095500" cy="59626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85751"/>
            <a:ext cx="6134100" cy="59626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C16EF7B-063A-4310-A1EA-20251377AE4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3640873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9150" y="285750"/>
            <a:ext cx="7410450" cy="563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143000"/>
            <a:ext cx="8382000" cy="51054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191000" y="6438900"/>
            <a:ext cx="2286000" cy="3048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>
          <a:xfrm>
            <a:off x="6553200" y="6438900"/>
            <a:ext cx="1524000" cy="3048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4400" y="6419852"/>
            <a:ext cx="457200" cy="320675"/>
          </a:xfrm>
        </p:spPr>
        <p:txBody>
          <a:bodyPr/>
          <a:lstStyle>
            <a:lvl1pPr>
              <a:defRPr/>
            </a:lvl1pPr>
          </a:lstStyle>
          <a:p>
            <a:fld id="{77D3505C-DE76-48EA-A230-A2A47A9F253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5527978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A07E535-977A-4BAB-BD2E-A13CC1F9D4F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0273511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G:\Ludhiana Photo\DSC_7492.JPG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A07E535-977A-4BAB-BD2E-A13CC1F9D4F4}" type="slidenum">
              <a:rPr lang="en-US"/>
              <a:pPr/>
              <a:t>‹#›</a:t>
            </a:fld>
            <a:endParaRPr lang="en-US"/>
          </a:p>
        </p:txBody>
      </p:sp>
      <p:grpSp>
        <p:nvGrpSpPr>
          <p:cNvPr id="10" name="Group 227"/>
          <p:cNvGrpSpPr>
            <a:grpSpLocks/>
          </p:cNvGrpSpPr>
          <p:nvPr userDrawn="1"/>
        </p:nvGrpSpPr>
        <p:grpSpPr bwMode="auto">
          <a:xfrm>
            <a:off x="2" y="0"/>
            <a:ext cx="808039" cy="793750"/>
            <a:chOff x="0" y="0"/>
            <a:chExt cx="509" cy="500"/>
          </a:xfrm>
        </p:grpSpPr>
        <p:sp>
          <p:nvSpPr>
            <p:cNvPr id="11" name="Rectangle 212"/>
            <p:cNvSpPr>
              <a:spLocks noChangeArrowheads="1"/>
            </p:cNvSpPr>
            <p:nvPr userDrawn="1"/>
          </p:nvSpPr>
          <p:spPr bwMode="gray">
            <a:xfrm>
              <a:off x="264" y="256"/>
              <a:ext cx="245" cy="244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Rectangle 213"/>
            <p:cNvSpPr>
              <a:spLocks noChangeArrowheads="1"/>
            </p:cNvSpPr>
            <p:nvPr userDrawn="1"/>
          </p:nvSpPr>
          <p:spPr bwMode="gray">
            <a:xfrm>
              <a:off x="0" y="0"/>
              <a:ext cx="245" cy="244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Rectangle 214"/>
            <p:cNvSpPr>
              <a:spLocks noChangeArrowheads="1"/>
            </p:cNvSpPr>
            <p:nvPr userDrawn="1"/>
          </p:nvSpPr>
          <p:spPr bwMode="gray">
            <a:xfrm>
              <a:off x="0" y="256"/>
              <a:ext cx="245" cy="244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7" name="Rectangle 203"/>
          <p:cNvSpPr>
            <a:spLocks noChangeArrowheads="1"/>
          </p:cNvSpPr>
          <p:nvPr userDrawn="1"/>
        </p:nvSpPr>
        <p:spPr bwMode="gray">
          <a:xfrm>
            <a:off x="8723138" y="413656"/>
            <a:ext cx="388937" cy="387350"/>
          </a:xfrm>
          <a:prstGeom prst="rect">
            <a:avLst/>
          </a:prstGeom>
          <a:solidFill>
            <a:schemeClr val="hlink">
              <a:alpha val="60001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8" name="Rectangle 209"/>
          <p:cNvSpPr>
            <a:spLocks noChangeArrowheads="1"/>
          </p:cNvSpPr>
          <p:nvPr userDrawn="1"/>
        </p:nvSpPr>
        <p:spPr bwMode="gray">
          <a:xfrm>
            <a:off x="8723138" y="0"/>
            <a:ext cx="388937" cy="387351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9" name="Rectangle 211"/>
          <p:cNvSpPr>
            <a:spLocks noChangeArrowheads="1"/>
          </p:cNvSpPr>
          <p:nvPr userDrawn="1"/>
        </p:nvSpPr>
        <p:spPr bwMode="gray">
          <a:xfrm>
            <a:off x="8305799" y="414185"/>
            <a:ext cx="388937" cy="38735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9829543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432FDF-BA7B-46AF-B17B-2DA7D5356B0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478437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3000"/>
            <a:ext cx="4114800" cy="5105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4400" y="1143000"/>
            <a:ext cx="4114800" cy="5105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69430D-6FE7-4CF4-83E0-35D42B1BC96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1446219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B6B1B47-84AE-4626-9D53-95391252047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1595277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FBCC162-892C-4473-8C3C-00FC9D8C798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2711757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A00B9A-A49C-46C6-B36B-DDD193A07BE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8728549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1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9FCB2E6-803C-40D7-BEE2-E44939C1974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1372842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30"/>
          <p:cNvSpPr>
            <a:spLocks noChangeArrowheads="1"/>
          </p:cNvSpPr>
          <p:nvPr userDrawn="1"/>
        </p:nvSpPr>
        <p:spPr bwMode="gray">
          <a:xfrm>
            <a:off x="0" y="6248400"/>
            <a:ext cx="7543800" cy="60960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US" kern="120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819150" y="285750"/>
            <a:ext cx="7410450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7200" y="1143000"/>
            <a:ext cx="838200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27" name="Rectangle 203"/>
          <p:cNvSpPr>
            <a:spLocks noChangeArrowheads="1"/>
          </p:cNvSpPr>
          <p:nvPr/>
        </p:nvSpPr>
        <p:spPr bwMode="gray">
          <a:xfrm>
            <a:off x="8723138" y="413656"/>
            <a:ext cx="388937" cy="387350"/>
          </a:xfrm>
          <a:prstGeom prst="rect">
            <a:avLst/>
          </a:prstGeom>
          <a:solidFill>
            <a:schemeClr val="hlink">
              <a:alpha val="60001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1251" name="Group 227"/>
          <p:cNvGrpSpPr>
            <a:grpSpLocks/>
          </p:cNvGrpSpPr>
          <p:nvPr/>
        </p:nvGrpSpPr>
        <p:grpSpPr bwMode="auto">
          <a:xfrm>
            <a:off x="2" y="0"/>
            <a:ext cx="808039" cy="793750"/>
            <a:chOff x="0" y="0"/>
            <a:chExt cx="509" cy="500"/>
          </a:xfrm>
        </p:grpSpPr>
        <p:sp>
          <p:nvSpPr>
            <p:cNvPr id="1236" name="Rectangle 212"/>
            <p:cNvSpPr>
              <a:spLocks noChangeArrowheads="1"/>
            </p:cNvSpPr>
            <p:nvPr userDrawn="1"/>
          </p:nvSpPr>
          <p:spPr bwMode="gray">
            <a:xfrm>
              <a:off x="264" y="256"/>
              <a:ext cx="245" cy="244"/>
            </a:xfrm>
            <a:prstGeom prst="rect">
              <a:avLst/>
            </a:prstGeom>
            <a:solidFill>
              <a:schemeClr val="accent2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gray">
            <a:xfrm>
              <a:off x="0" y="0"/>
              <a:ext cx="245" cy="244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gray">
            <a:xfrm>
              <a:off x="0" y="256"/>
              <a:ext cx="245" cy="244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33" name="Rectangle 209"/>
          <p:cNvSpPr>
            <a:spLocks noChangeArrowheads="1"/>
          </p:cNvSpPr>
          <p:nvPr/>
        </p:nvSpPr>
        <p:spPr bwMode="gray">
          <a:xfrm>
            <a:off x="8723138" y="0"/>
            <a:ext cx="388937" cy="387351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235" name="Rectangle 211"/>
          <p:cNvSpPr>
            <a:spLocks noChangeArrowheads="1"/>
          </p:cNvSpPr>
          <p:nvPr/>
        </p:nvSpPr>
        <p:spPr bwMode="gray">
          <a:xfrm>
            <a:off x="8305799" y="414185"/>
            <a:ext cx="388937" cy="38735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244" name="Rectangle 220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57200" y="6438900"/>
            <a:ext cx="2286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45" name="Rectangle 2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2819400" y="6438900"/>
            <a:ext cx="1524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1246" name="Rectangle 22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34400" y="6419852"/>
            <a:ext cx="4572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9CBA31B1-193F-4CCE-9A28-4A43B695533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7" name="Picture 16" descr="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620000" y="6242426"/>
            <a:ext cx="1447800" cy="572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43665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5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5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0">
          <a:solidFill>
            <a:schemeClr val="tx2"/>
          </a:solidFill>
          <a:latin typeface="Segoe UI Semibold" pitchFamily="34" charset="0"/>
          <a:ea typeface="Segoe UI" pitchFamily="34" charset="0"/>
          <a:cs typeface="Segoe U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v"/>
        <a:defRPr sz="2800" b="0">
          <a:solidFill>
            <a:srgbClr val="000000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800" b="0">
          <a:solidFill>
            <a:srgbClr val="000000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2400" b="0">
          <a:solidFill>
            <a:srgbClr val="000000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b="0">
          <a:solidFill>
            <a:srgbClr val="000000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b="0">
          <a:solidFill>
            <a:srgbClr val="000000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26" Type="http://schemas.openxmlformats.org/officeDocument/2006/relationships/image" Target="../media/image77.png"/><Relationship Id="rId3" Type="http://schemas.openxmlformats.org/officeDocument/2006/relationships/image" Target="../media/image54.png"/><Relationship Id="rId21" Type="http://schemas.openxmlformats.org/officeDocument/2006/relationships/image" Target="../media/image72.jpeg"/><Relationship Id="rId34" Type="http://schemas.openxmlformats.org/officeDocument/2006/relationships/image" Target="../media/image85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5" Type="http://schemas.openxmlformats.org/officeDocument/2006/relationships/image" Target="../media/image76.png"/><Relationship Id="rId33" Type="http://schemas.openxmlformats.org/officeDocument/2006/relationships/image" Target="../media/image84.jpeg"/><Relationship Id="rId2" Type="http://schemas.openxmlformats.org/officeDocument/2006/relationships/image" Target="../media/image53.png"/><Relationship Id="rId16" Type="http://schemas.openxmlformats.org/officeDocument/2006/relationships/image" Target="../media/image67.gif"/><Relationship Id="rId20" Type="http://schemas.openxmlformats.org/officeDocument/2006/relationships/image" Target="../media/image71.png"/><Relationship Id="rId29" Type="http://schemas.openxmlformats.org/officeDocument/2006/relationships/image" Target="../media/image8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24" Type="http://schemas.openxmlformats.org/officeDocument/2006/relationships/image" Target="../media/image75.png"/><Relationship Id="rId32" Type="http://schemas.openxmlformats.org/officeDocument/2006/relationships/image" Target="../media/image83.png"/><Relationship Id="rId37" Type="http://schemas.openxmlformats.org/officeDocument/2006/relationships/image" Target="../media/image88.pn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23" Type="http://schemas.openxmlformats.org/officeDocument/2006/relationships/image" Target="../media/image74.png"/><Relationship Id="rId28" Type="http://schemas.openxmlformats.org/officeDocument/2006/relationships/image" Target="../media/image79.png"/><Relationship Id="rId36" Type="http://schemas.openxmlformats.org/officeDocument/2006/relationships/image" Target="../media/image87.png"/><Relationship Id="rId10" Type="http://schemas.openxmlformats.org/officeDocument/2006/relationships/image" Target="../media/image61.png"/><Relationship Id="rId19" Type="http://schemas.openxmlformats.org/officeDocument/2006/relationships/image" Target="../media/image70.png"/><Relationship Id="rId31" Type="http://schemas.openxmlformats.org/officeDocument/2006/relationships/image" Target="../media/image82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png"/><Relationship Id="rId22" Type="http://schemas.openxmlformats.org/officeDocument/2006/relationships/image" Target="../media/image73.png"/><Relationship Id="rId27" Type="http://schemas.openxmlformats.org/officeDocument/2006/relationships/image" Target="../media/image78.jpeg"/><Relationship Id="rId30" Type="http://schemas.openxmlformats.org/officeDocument/2006/relationships/image" Target="../media/image81.png"/><Relationship Id="rId35" Type="http://schemas.openxmlformats.org/officeDocument/2006/relationships/image" Target="../media/image8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100.jpeg"/><Relationship Id="rId18" Type="http://schemas.openxmlformats.org/officeDocument/2006/relationships/image" Target="../media/image105.png"/><Relationship Id="rId3" Type="http://schemas.openxmlformats.org/officeDocument/2006/relationships/image" Target="../media/image90.png"/><Relationship Id="rId21" Type="http://schemas.openxmlformats.org/officeDocument/2006/relationships/image" Target="../media/image108.jpeg"/><Relationship Id="rId7" Type="http://schemas.openxmlformats.org/officeDocument/2006/relationships/image" Target="../media/image94.png"/><Relationship Id="rId12" Type="http://schemas.openxmlformats.org/officeDocument/2006/relationships/image" Target="../media/image99.jpeg"/><Relationship Id="rId17" Type="http://schemas.openxmlformats.org/officeDocument/2006/relationships/image" Target="../media/image104.png"/><Relationship Id="rId2" Type="http://schemas.openxmlformats.org/officeDocument/2006/relationships/image" Target="../media/image89.gif"/><Relationship Id="rId16" Type="http://schemas.openxmlformats.org/officeDocument/2006/relationships/image" Target="../media/image103.png"/><Relationship Id="rId20" Type="http://schemas.openxmlformats.org/officeDocument/2006/relationships/image" Target="../media/image10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3.png"/><Relationship Id="rId11" Type="http://schemas.openxmlformats.org/officeDocument/2006/relationships/image" Target="../media/image98.png"/><Relationship Id="rId24" Type="http://schemas.openxmlformats.org/officeDocument/2006/relationships/image" Target="../media/image111.png"/><Relationship Id="rId5" Type="http://schemas.openxmlformats.org/officeDocument/2006/relationships/image" Target="../media/image92.jpeg"/><Relationship Id="rId15" Type="http://schemas.openxmlformats.org/officeDocument/2006/relationships/image" Target="../media/image102.png"/><Relationship Id="rId23" Type="http://schemas.openxmlformats.org/officeDocument/2006/relationships/image" Target="../media/image110.jpeg"/><Relationship Id="rId10" Type="http://schemas.openxmlformats.org/officeDocument/2006/relationships/image" Target="../media/image97.jpeg"/><Relationship Id="rId19" Type="http://schemas.openxmlformats.org/officeDocument/2006/relationships/image" Target="../media/image106.png"/><Relationship Id="rId4" Type="http://schemas.openxmlformats.org/officeDocument/2006/relationships/image" Target="../media/image91.png"/><Relationship Id="rId9" Type="http://schemas.openxmlformats.org/officeDocument/2006/relationships/image" Target="../media/image96.gif"/><Relationship Id="rId14" Type="http://schemas.openxmlformats.org/officeDocument/2006/relationships/image" Target="../media/image101.png"/><Relationship Id="rId22" Type="http://schemas.openxmlformats.org/officeDocument/2006/relationships/image" Target="../media/image109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jpeg"/><Relationship Id="rId11" Type="http://schemas.openxmlformats.org/officeDocument/2006/relationships/image" Target="../media/image20.jpeg"/><Relationship Id="rId5" Type="http://schemas.openxmlformats.org/officeDocument/2006/relationships/image" Target="../media/image14.jpeg"/><Relationship Id="rId10" Type="http://schemas.openxmlformats.org/officeDocument/2006/relationships/image" Target="../media/image19.jpeg"/><Relationship Id="rId4" Type="http://schemas.openxmlformats.org/officeDocument/2006/relationships/image" Target="../media/image13.jpeg"/><Relationship Id="rId9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auto">
          <a:xfrm>
            <a:off x="0" y="2599509"/>
            <a:ext cx="9144000" cy="305670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504258" y="2606040"/>
            <a:ext cx="3657102" cy="3054096"/>
          </a:xfrm>
          <a:prstGeom prst="rect">
            <a:avLst/>
          </a:prstGeom>
        </p:spPr>
      </p:pic>
      <p:sp>
        <p:nvSpPr>
          <p:cNvPr id="16" name="Title 15"/>
          <p:cNvSpPr>
            <a:spLocks noGrp="1"/>
          </p:cNvSpPr>
          <p:nvPr>
            <p:ph type="ctrTitle"/>
          </p:nvPr>
        </p:nvSpPr>
        <p:spPr>
          <a:xfrm>
            <a:off x="71120" y="3397973"/>
            <a:ext cx="5598160" cy="609600"/>
          </a:xfrm>
        </p:spPr>
        <p:txBody>
          <a:bodyPr/>
          <a:lstStyle/>
          <a:p>
            <a:r>
              <a:rPr lang="en-US" sz="2200" dirty="0">
                <a:solidFill>
                  <a:schemeClr val="bg1"/>
                </a:solidFill>
              </a:rPr>
              <a:t>Pristine Hindustan Infraprojects Pvt. Ltd.</a:t>
            </a:r>
            <a:br>
              <a:rPr lang="en-US" sz="2200" dirty="0">
                <a:solidFill>
                  <a:schemeClr val="bg1"/>
                </a:solidFill>
              </a:rPr>
            </a:br>
            <a:r>
              <a:rPr lang="en-US" sz="1050" dirty="0">
                <a:solidFill>
                  <a:schemeClr val="bg1"/>
                </a:solidFill>
              </a:rPr>
              <a:t>(a </a:t>
            </a:r>
            <a:r>
              <a:rPr lang="en-US" sz="1000" dirty="0">
                <a:solidFill>
                  <a:schemeClr val="bg1"/>
                </a:solidFill>
              </a:rPr>
              <a:t>JV of Pristine Logistics &amp; Infraprojects Pvt. Ltd. &amp; Hindustan Dock Yard Pvt. Ltd.) 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xmlns="" id="{0024FA9D-D190-4572-9186-BF3239DEB2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580" y="4013817"/>
            <a:ext cx="514852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2744" fontAlgn="base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2000" i="1" dirty="0">
                <a:solidFill>
                  <a:schemeClr val="bg1"/>
                </a:solidFill>
                <a:latin typeface="Segoe UI Semibold" pitchFamily="34" charset="0"/>
                <a:cs typeface="Segoe UI" pitchFamily="34" charset="0"/>
              </a:rPr>
              <a:t>Integrated Logistic Park at Siliguri, West Bengal</a:t>
            </a:r>
          </a:p>
        </p:txBody>
      </p:sp>
    </p:spTree>
    <p:extLst>
      <p:ext uri="{BB962C8B-B14F-4D97-AF65-F5344CB8AC3E}">
        <p14:creationId xmlns:p14="http://schemas.microsoft.com/office/powerpoint/2010/main" xmlns="" val="15638990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82D47A4-36FD-47EB-993C-44FCFAAF6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CDs around Kanpur, Uttar Pradesh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CA5CF76C-E765-4E46-A1C6-0BBEA19041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080" y="1378876"/>
            <a:ext cx="8879840" cy="4330678"/>
          </a:xfrm>
          <a:prstGeom prst="rect">
            <a:avLst/>
          </a:prstGeom>
        </p:spPr>
      </p:pic>
      <p:sp>
        <p:nvSpPr>
          <p:cNvPr id="5" name="5-Point Star 62">
            <a:extLst>
              <a:ext uri="{FF2B5EF4-FFF2-40B4-BE49-F238E27FC236}">
                <a16:creationId xmlns:a16="http://schemas.microsoft.com/office/drawing/2014/main" xmlns="" id="{61B626E0-14B9-4A41-968D-DDE57F13F00D}"/>
              </a:ext>
            </a:extLst>
          </p:cNvPr>
          <p:cNvSpPr/>
          <p:nvPr/>
        </p:nvSpPr>
        <p:spPr bwMode="auto">
          <a:xfrm>
            <a:off x="1900873" y="3869690"/>
            <a:ext cx="227012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6" name="TextBox 63">
            <a:extLst>
              <a:ext uri="{FF2B5EF4-FFF2-40B4-BE49-F238E27FC236}">
                <a16:creationId xmlns:a16="http://schemas.microsoft.com/office/drawing/2014/main" xmlns="" id="{31977CC3-F5FD-4F13-9EB0-64F84C1EFA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6483" y="4186873"/>
            <a:ext cx="1061402" cy="276999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dirty="0">
                <a:solidFill>
                  <a:schemeClr val="bg1"/>
                </a:solidFill>
                <a:latin typeface="Calibri" panose="020F0502020204030204" pitchFamily="34" charset="0"/>
              </a:rPr>
              <a:t>ICD </a:t>
            </a:r>
            <a:r>
              <a:rPr lang="en-US" altLang="en-US" sz="1200" dirty="0" err="1">
                <a:solidFill>
                  <a:schemeClr val="bg1"/>
                </a:solidFill>
                <a:latin typeface="Calibri" panose="020F0502020204030204" pitchFamily="34" charset="0"/>
              </a:rPr>
              <a:t>Panki</a:t>
            </a:r>
            <a:endParaRPr lang="en-US" altLang="en-US" sz="12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5-Point Star 62">
            <a:extLst>
              <a:ext uri="{FF2B5EF4-FFF2-40B4-BE49-F238E27FC236}">
                <a16:creationId xmlns:a16="http://schemas.microsoft.com/office/drawing/2014/main" xmlns="" id="{06623FCC-22F3-4EF1-9594-8128007B276B}"/>
              </a:ext>
            </a:extLst>
          </p:cNvPr>
          <p:cNvSpPr/>
          <p:nvPr/>
        </p:nvSpPr>
        <p:spPr bwMode="auto">
          <a:xfrm>
            <a:off x="2805113" y="3940810"/>
            <a:ext cx="227012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8" name="TextBox 63">
            <a:extLst>
              <a:ext uri="{FF2B5EF4-FFF2-40B4-BE49-F238E27FC236}">
                <a16:creationId xmlns:a16="http://schemas.microsoft.com/office/drawing/2014/main" xmlns="" id="{AD8ADCB5-AAAF-402C-BF18-A41401022B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31587" y="4255205"/>
            <a:ext cx="1061402" cy="276999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dirty="0">
                <a:solidFill>
                  <a:schemeClr val="bg1"/>
                </a:solidFill>
                <a:latin typeface="Calibri" panose="020F0502020204030204" pitchFamily="34" charset="0"/>
              </a:rPr>
              <a:t>ICD JRY</a:t>
            </a:r>
          </a:p>
        </p:txBody>
      </p:sp>
    </p:spTree>
    <p:extLst>
      <p:ext uri="{BB962C8B-B14F-4D97-AF65-F5344CB8AC3E}">
        <p14:creationId xmlns:p14="http://schemas.microsoft.com/office/powerpoint/2010/main" xmlns="" val="303017332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4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ur Prese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06ABA979-DA97-4048-B014-40E9E80F2110}"/>
              </a:ext>
            </a:extLst>
          </p:cNvPr>
          <p:cNvSpPr/>
          <p:nvPr/>
        </p:nvSpPr>
        <p:spPr bwMode="auto">
          <a:xfrm>
            <a:off x="0" y="0"/>
            <a:ext cx="9144000" cy="1065479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xmlns="" id="{5E6EA899-7E4C-4689-9A2D-1B1CDD7BA1CF}"/>
              </a:ext>
            </a:extLst>
          </p:cNvPr>
          <p:cNvSpPr txBox="1"/>
          <p:nvPr/>
        </p:nvSpPr>
        <p:spPr>
          <a:xfrm>
            <a:off x="0" y="271422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ICD Siliguri – An Overview</a:t>
            </a:r>
            <a:endParaRPr lang="en-IN" sz="3200" b="1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AE10E6C-DEFC-457E-B77F-2ADC218B0DC5}"/>
              </a:ext>
            </a:extLst>
          </p:cNvPr>
          <p:cNvPicPr/>
          <p:nvPr/>
        </p:nvPicPr>
        <p:blipFill rotWithShape="1">
          <a:blip r:embed="rId2"/>
          <a:srcRect l="1151" t="2451"/>
          <a:stretch/>
        </p:blipFill>
        <p:spPr>
          <a:xfrm>
            <a:off x="3911600" y="3901440"/>
            <a:ext cx="5232400" cy="295656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05BDB89-B4C3-4696-9202-ACF49275528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30" t="17148" r="3031" b="20561"/>
          <a:stretch/>
        </p:blipFill>
        <p:spPr>
          <a:xfrm>
            <a:off x="3911600" y="968046"/>
            <a:ext cx="5232400" cy="293339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4B33387C-B3DF-4808-8276-CDBEB7C9D4C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 rot="5400000">
            <a:off x="-926579" y="1879599"/>
            <a:ext cx="5896838" cy="404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253845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4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39" name="think-cell Slide" r:id="rId5" imgW="360" imgH="360" progId="">
              <p:embed/>
            </p:oleObj>
          </a:graphicData>
        </a:graphic>
      </p:graphicFrame>
      <p:sp>
        <p:nvSpPr>
          <p:cNvPr id="163844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846939" y="402749"/>
            <a:ext cx="8450263" cy="338546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dirty="0"/>
              <a:t>ICD Siliguri – Key Highlights</a:t>
            </a:r>
            <a:endParaRPr lang="en-IN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F18557-20C1-488D-8854-2D4976755083}" type="slidenum">
              <a:rPr lang="en-GB" smtClean="0"/>
              <a:pPr>
                <a:defRPr/>
              </a:pPr>
              <a:t>12</a:t>
            </a:fld>
            <a:r>
              <a:rPr lang="en-GB"/>
              <a:t> </a:t>
            </a:r>
            <a:endParaRPr lang="en-GB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6A9B9B1E-885C-43FB-AC58-F4A833B8A482}"/>
              </a:ext>
            </a:extLst>
          </p:cNvPr>
          <p:cNvGrpSpPr/>
          <p:nvPr/>
        </p:nvGrpSpPr>
        <p:grpSpPr>
          <a:xfrm>
            <a:off x="913264" y="3505200"/>
            <a:ext cx="1447800" cy="1447800"/>
            <a:chOff x="1295400" y="3505200"/>
            <a:chExt cx="1447800" cy="14478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1234EA65-A9D7-4E8C-8945-510EC0F921AF}"/>
                </a:ext>
              </a:extLst>
            </p:cNvPr>
            <p:cNvSpPr/>
            <p:nvPr/>
          </p:nvSpPr>
          <p:spPr bwMode="auto">
            <a:xfrm>
              <a:off x="1295400" y="3505200"/>
              <a:ext cx="1447800" cy="1447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7" name="Rectangle 77">
              <a:extLst>
                <a:ext uri="{FF2B5EF4-FFF2-40B4-BE49-F238E27FC236}">
                  <a16:creationId xmlns:a16="http://schemas.microsoft.com/office/drawing/2014/main" xmlns="" id="{3AD0787B-9694-4E86-AE36-9498F239091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95400" y="4047226"/>
              <a:ext cx="1219200" cy="90024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Focus on Container Inventory Management &amp; repo solutions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FBB29898-2603-400B-8D65-4F22C5EFA55C}"/>
              </a:ext>
            </a:extLst>
          </p:cNvPr>
          <p:cNvGrpSpPr/>
          <p:nvPr/>
        </p:nvGrpSpPr>
        <p:grpSpPr>
          <a:xfrm>
            <a:off x="6324600" y="1066800"/>
            <a:ext cx="2464558" cy="2093182"/>
            <a:chOff x="6324600" y="1066800"/>
            <a:chExt cx="2057400" cy="2093182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35F42107-45E4-4744-A430-FC38E7D573F3}"/>
                </a:ext>
              </a:extLst>
            </p:cNvPr>
            <p:cNvSpPr/>
            <p:nvPr/>
          </p:nvSpPr>
          <p:spPr bwMode="auto">
            <a:xfrm>
              <a:off x="6324600" y="1066800"/>
              <a:ext cx="2057400" cy="20574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30" name="Rectangle 78">
              <a:extLst>
                <a:ext uri="{FF2B5EF4-FFF2-40B4-BE49-F238E27FC236}">
                  <a16:creationId xmlns:a16="http://schemas.microsoft.com/office/drawing/2014/main" xmlns="" id="{6B3BF102-F8C0-4469-B04C-9661F411AF2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24600" y="1516455"/>
              <a:ext cx="1981200" cy="164352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lvl="0" defTabSz="914400">
                <a:lnSpc>
                  <a:spcPct val="90000"/>
                </a:lnSpc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Strategically located – Convenient access to catchment area </a:t>
              </a:r>
              <a:r>
                <a:rPr lang="en-IN" sz="1600" kern="0" dirty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including North Bengal, Sikkim, Bihar, land-locked countries of Nepal &amp; Bhutan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xmlns="" id="{C6F409D3-13F6-4AAA-97D7-569B59DA1B61}"/>
              </a:ext>
            </a:extLst>
          </p:cNvPr>
          <p:cNvGrpSpPr/>
          <p:nvPr/>
        </p:nvGrpSpPr>
        <p:grpSpPr>
          <a:xfrm>
            <a:off x="4648200" y="1676400"/>
            <a:ext cx="1600200" cy="1507238"/>
            <a:chOff x="4800600" y="1676400"/>
            <a:chExt cx="1447800" cy="1507238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xmlns="" id="{DA664203-9F5D-4430-AD5F-1E87A523B5F5}"/>
                </a:ext>
              </a:extLst>
            </p:cNvPr>
            <p:cNvSpPr/>
            <p:nvPr/>
          </p:nvSpPr>
          <p:spPr bwMode="auto">
            <a:xfrm>
              <a:off x="4800600" y="1676400"/>
              <a:ext cx="1447800" cy="14478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33" name="Rectangle 78">
              <a:extLst>
                <a:ext uri="{FF2B5EF4-FFF2-40B4-BE49-F238E27FC236}">
                  <a16:creationId xmlns:a16="http://schemas.microsoft.com/office/drawing/2014/main" xmlns="" id="{C0FE011F-985B-4A5D-8D58-B5DB7E1483F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00600" y="1927910"/>
              <a:ext cx="1153506" cy="125572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Best and committed management and operation team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AEF85607-DD66-4056-A0B6-EE5729AC664E}"/>
              </a:ext>
            </a:extLst>
          </p:cNvPr>
          <p:cNvGrpSpPr/>
          <p:nvPr/>
        </p:nvGrpSpPr>
        <p:grpSpPr>
          <a:xfrm>
            <a:off x="2437264" y="2286000"/>
            <a:ext cx="2134736" cy="1905000"/>
            <a:chOff x="2819400" y="2286000"/>
            <a:chExt cx="1905000" cy="1905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89F43CCA-C8E4-40FF-A985-65A0C8FDC898}"/>
                </a:ext>
              </a:extLst>
            </p:cNvPr>
            <p:cNvSpPr/>
            <p:nvPr/>
          </p:nvSpPr>
          <p:spPr bwMode="auto">
            <a:xfrm>
              <a:off x="2819400" y="2286000"/>
              <a:ext cx="1905000" cy="1905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36" name="Rectangle 78">
              <a:extLst>
                <a:ext uri="{FF2B5EF4-FFF2-40B4-BE49-F238E27FC236}">
                  <a16:creationId xmlns:a16="http://schemas.microsoft.com/office/drawing/2014/main" xmlns="" id="{C54CFCED-9FCD-4519-AA25-83F49D7330D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19400" y="3129171"/>
              <a:ext cx="1447800" cy="10618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IT enabled facility with tracking &amp; auto updating facility at each stage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2F4201A1-DA31-4EBA-8D83-4EE5B2E17BA9}"/>
              </a:ext>
            </a:extLst>
          </p:cNvPr>
          <p:cNvGrpSpPr/>
          <p:nvPr/>
        </p:nvGrpSpPr>
        <p:grpSpPr>
          <a:xfrm>
            <a:off x="469710" y="1441760"/>
            <a:ext cx="1905000" cy="1905000"/>
            <a:chOff x="838200" y="1524000"/>
            <a:chExt cx="1905000" cy="19050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509A1E84-2D54-42B1-9D0F-8A3DA7484731}"/>
                </a:ext>
              </a:extLst>
            </p:cNvPr>
            <p:cNvSpPr/>
            <p:nvPr/>
          </p:nvSpPr>
          <p:spPr bwMode="auto">
            <a:xfrm>
              <a:off x="838200" y="1524000"/>
              <a:ext cx="1905000" cy="1905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0" name="Rectangle 78">
              <a:extLst>
                <a:ext uri="{FF2B5EF4-FFF2-40B4-BE49-F238E27FC236}">
                  <a16:creationId xmlns:a16="http://schemas.microsoft.com/office/drawing/2014/main" xmlns="" id="{80098A3D-708E-4A4E-BAC4-110D28371FD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8200" y="2259449"/>
              <a:ext cx="1447800" cy="11695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Spread over 29 acres, equipped to handle 1,00,000 TEU per year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F3FE65D6-25A8-4B39-B718-5B9A5CA207E7}"/>
              </a:ext>
            </a:extLst>
          </p:cNvPr>
          <p:cNvGrpSpPr/>
          <p:nvPr/>
        </p:nvGrpSpPr>
        <p:grpSpPr>
          <a:xfrm>
            <a:off x="2437264" y="4267200"/>
            <a:ext cx="1982336" cy="1601735"/>
            <a:chOff x="2819400" y="4267200"/>
            <a:chExt cx="1600200" cy="1601735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xmlns="" id="{4F6DBDEC-C14A-4C64-A8E5-C90D698C0EF9}"/>
                </a:ext>
              </a:extLst>
            </p:cNvPr>
            <p:cNvSpPr/>
            <p:nvPr/>
          </p:nvSpPr>
          <p:spPr bwMode="auto">
            <a:xfrm>
              <a:off x="2819400" y="4267200"/>
              <a:ext cx="1600200" cy="16002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3" name="Rectangle 78">
              <a:extLst>
                <a:ext uri="{FF2B5EF4-FFF2-40B4-BE49-F238E27FC236}">
                  <a16:creationId xmlns:a16="http://schemas.microsoft.com/office/drawing/2014/main" xmlns="" id="{59592CBD-B847-4485-8E12-54F3311C20C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19400" y="4336208"/>
              <a:ext cx="1485900" cy="153272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itchFamily="34" charset="0"/>
                  <a:ea typeface="Segoe UI" pitchFamily="34" charset="0"/>
                  <a:cs typeface="Segoe UI" pitchFamily="34" charset="0"/>
                </a:rPr>
                <a:t>Continuous surveillance with round-the-clock monitoring facility – special focus on safety of containers and cargo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D8298CDB-5A72-4AD4-A1DD-A0AA9CEF08B1}"/>
              </a:ext>
            </a:extLst>
          </p:cNvPr>
          <p:cNvGrpSpPr/>
          <p:nvPr/>
        </p:nvGrpSpPr>
        <p:grpSpPr>
          <a:xfrm>
            <a:off x="4648200" y="3200400"/>
            <a:ext cx="2819400" cy="2667000"/>
            <a:chOff x="4800600" y="3200400"/>
            <a:chExt cx="2667000" cy="2667000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xmlns="" id="{38A0D2C2-2F7B-4131-A31E-29727F9F17BE}"/>
                </a:ext>
              </a:extLst>
            </p:cNvPr>
            <p:cNvSpPr/>
            <p:nvPr/>
          </p:nvSpPr>
          <p:spPr bwMode="auto">
            <a:xfrm>
              <a:off x="4800600" y="3200400"/>
              <a:ext cx="2667000" cy="26670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6" name="Rectangle 76">
              <a:extLst>
                <a:ext uri="{FF2B5EF4-FFF2-40B4-BE49-F238E27FC236}">
                  <a16:creationId xmlns:a16="http://schemas.microsoft.com/office/drawing/2014/main" xmlns="" id="{F647A99A-AC8C-4873-8A4F-B90042B1A4D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09225" y="4432000"/>
              <a:ext cx="2546918" cy="142192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0" lvl="1" defTabSz="914400">
                <a:lnSpc>
                  <a:spcPct val="90000"/>
                </a:lnSpc>
                <a:defRPr/>
              </a:pPr>
              <a:r>
                <a:rPr lang="en-IN" sz="2400" kern="0" dirty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First multi-modal logistics park / ICD in North Bengal region 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54328641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4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75" name="think-cell Slide" r:id="rId5" imgW="360" imgH="360" progId="">
              <p:embed/>
            </p:oleObj>
          </a:graphicData>
        </a:graphic>
      </p:graphicFrame>
      <p:sp>
        <p:nvSpPr>
          <p:cNvPr id="163844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846939" y="402749"/>
            <a:ext cx="8450263" cy="338546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dirty="0"/>
              <a:t>ICD Siliguri – Operational Overview</a:t>
            </a:r>
            <a:endParaRPr lang="en-IN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F18557-20C1-488D-8854-2D4976755083}" type="slidenum">
              <a:rPr lang="en-GB" smtClean="0"/>
              <a:pPr>
                <a:defRPr/>
              </a:pPr>
              <a:t>13</a:t>
            </a:fld>
            <a:r>
              <a:rPr lang="en-GB"/>
              <a:t> </a:t>
            </a:r>
            <a:endParaRPr lang="en-GB" dirty="0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xmlns="" id="{9C3BC09D-AAB4-4C47-9025-86D6D2CC69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5044" y="1429741"/>
            <a:ext cx="2088000" cy="548640"/>
          </a:xfrm>
          <a:prstGeom prst="homePlate">
            <a:avLst/>
          </a:prstGeom>
          <a:solidFill>
            <a:srgbClr val="00A1DE"/>
          </a:solidFill>
          <a:ln w="12700" algn="ctr">
            <a:solidFill>
              <a:srgbClr val="FFFFFF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and Area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xmlns="" id="{E4915511-16BC-42A1-B049-FF975119A1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334" y="2024954"/>
            <a:ext cx="2088000" cy="548640"/>
          </a:xfrm>
          <a:prstGeom prst="homePlate">
            <a:avLst/>
          </a:prstGeom>
          <a:solidFill>
            <a:srgbClr val="00A1DE"/>
          </a:solidFill>
          <a:ln w="12700" algn="ctr">
            <a:solidFill>
              <a:srgbClr val="FFFFFF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nstalled Capacity</a:t>
            </a:r>
          </a:p>
        </p:txBody>
      </p:sp>
      <p:sp>
        <p:nvSpPr>
          <p:cNvPr id="11" name="Pentagon 16">
            <a:extLst>
              <a:ext uri="{FF2B5EF4-FFF2-40B4-BE49-F238E27FC236}">
                <a16:creationId xmlns:a16="http://schemas.microsoft.com/office/drawing/2014/main" xmlns="" id="{7135E192-72F8-4F93-B618-4E65649C00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334" y="2634029"/>
            <a:ext cx="2088000" cy="548640"/>
          </a:xfrm>
          <a:prstGeom prst="homePlate">
            <a:avLst/>
          </a:prstGeom>
          <a:solidFill>
            <a:srgbClr val="00A1DE"/>
          </a:solidFill>
          <a:ln w="12700" algn="ctr">
            <a:solidFill>
              <a:srgbClr val="FFFFFF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. of handling line</a:t>
            </a:r>
          </a:p>
        </p:txBody>
      </p:sp>
      <p:sp>
        <p:nvSpPr>
          <p:cNvPr id="12" name="Pentagon 17">
            <a:extLst>
              <a:ext uri="{FF2B5EF4-FFF2-40B4-BE49-F238E27FC236}">
                <a16:creationId xmlns:a16="http://schemas.microsoft.com/office/drawing/2014/main" xmlns="" id="{A7E3AABD-3FF5-40F7-A204-D98318ED9A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334" y="3256957"/>
            <a:ext cx="2088000" cy="548640"/>
          </a:xfrm>
          <a:prstGeom prst="homePlate">
            <a:avLst/>
          </a:prstGeom>
          <a:solidFill>
            <a:srgbClr val="00A1DE"/>
          </a:solidFill>
          <a:ln w="12700" algn="ctr">
            <a:solidFill>
              <a:srgbClr val="FFFFFF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quipment</a:t>
            </a:r>
          </a:p>
        </p:txBody>
      </p:sp>
      <p:sp>
        <p:nvSpPr>
          <p:cNvPr id="13" name="Pentagon 36">
            <a:extLst>
              <a:ext uri="{FF2B5EF4-FFF2-40B4-BE49-F238E27FC236}">
                <a16:creationId xmlns:a16="http://schemas.microsoft.com/office/drawing/2014/main" xmlns="" id="{7CD6C65C-76CE-489F-A446-096267D7E5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7334" y="3951461"/>
            <a:ext cx="2088000" cy="548640"/>
          </a:xfrm>
          <a:prstGeom prst="homePlate">
            <a:avLst/>
          </a:prstGeom>
          <a:solidFill>
            <a:srgbClr val="00A1DE"/>
          </a:solidFill>
          <a:ln w="12700" algn="ctr">
            <a:solidFill>
              <a:srgbClr val="FFFFFF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Trailers</a:t>
            </a:r>
          </a:p>
        </p:txBody>
      </p:sp>
      <p:sp>
        <p:nvSpPr>
          <p:cNvPr id="14" name="Pentagon 17">
            <a:extLst>
              <a:ext uri="{FF2B5EF4-FFF2-40B4-BE49-F238E27FC236}">
                <a16:creationId xmlns:a16="http://schemas.microsoft.com/office/drawing/2014/main" xmlns="" id="{565FE334-3723-46EB-8B4C-310C69A53F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4824" y="4578585"/>
            <a:ext cx="2088000" cy="548640"/>
          </a:xfrm>
          <a:prstGeom prst="homePlate">
            <a:avLst/>
          </a:prstGeom>
          <a:solidFill>
            <a:srgbClr val="00A1DE"/>
          </a:solidFill>
          <a:ln w="12700" algn="ctr">
            <a:solidFill>
              <a:srgbClr val="FFFFFF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stom Bonded Area</a:t>
            </a:r>
          </a:p>
        </p:txBody>
      </p:sp>
      <p:sp>
        <p:nvSpPr>
          <p:cNvPr id="17" name="Pentagon 36">
            <a:extLst>
              <a:ext uri="{FF2B5EF4-FFF2-40B4-BE49-F238E27FC236}">
                <a16:creationId xmlns:a16="http://schemas.microsoft.com/office/drawing/2014/main" xmlns="" id="{7B487FA2-C6E9-446B-96A5-C4A59458447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4824" y="5213129"/>
            <a:ext cx="2088000" cy="548640"/>
          </a:xfrm>
          <a:prstGeom prst="homePlate">
            <a:avLst/>
          </a:prstGeom>
          <a:solidFill>
            <a:srgbClr val="00A1DE"/>
          </a:solidFill>
          <a:ln w="12700" algn="ctr">
            <a:solidFill>
              <a:srgbClr val="FFFFFF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xpected Commissioning Dat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99233066-9D17-40B5-9571-D5D4ED7E9A2A}"/>
              </a:ext>
            </a:extLst>
          </p:cNvPr>
          <p:cNvSpPr/>
          <p:nvPr/>
        </p:nvSpPr>
        <p:spPr bwMode="auto">
          <a:xfrm>
            <a:off x="2623280" y="1429741"/>
            <a:ext cx="5985756" cy="5486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otal - 29 Acres, Paved Area – 11 acr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0701B592-9B01-4A1D-8952-D9007D5A7FE9}"/>
              </a:ext>
            </a:extLst>
          </p:cNvPr>
          <p:cNvSpPr/>
          <p:nvPr/>
        </p:nvSpPr>
        <p:spPr bwMode="auto">
          <a:xfrm>
            <a:off x="2640770" y="2061822"/>
            <a:ext cx="5985756" cy="5486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4617B"/>
                </a:solidFill>
                <a:latin typeface="Arial" charset="0"/>
              </a:rPr>
              <a:t>1,00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,000 TEUs P.A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49F640BB-8746-45D9-BA12-C58A71243202}"/>
              </a:ext>
            </a:extLst>
          </p:cNvPr>
          <p:cNvSpPr/>
          <p:nvPr/>
        </p:nvSpPr>
        <p:spPr bwMode="auto">
          <a:xfrm>
            <a:off x="2625780" y="2661426"/>
            <a:ext cx="5985756" cy="5486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 Handling line of 740 m + 1 sick line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41746BFB-C720-47EA-B271-7E6E32CCD02A}"/>
              </a:ext>
            </a:extLst>
          </p:cNvPr>
          <p:cNvSpPr/>
          <p:nvPr/>
        </p:nvSpPr>
        <p:spPr bwMode="auto">
          <a:xfrm>
            <a:off x="2643270" y="3293507"/>
            <a:ext cx="5985756" cy="5486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4617B"/>
                </a:solidFill>
                <a:latin typeface="Arial" charset="0"/>
              </a:rPr>
              <a:t>2 Reach Stackers; 1 Hydra Crane; 3 Forklift; 56 Plugin Poin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4617B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F56D51B4-16FA-4FFB-AF70-CD814EB8F84E}"/>
              </a:ext>
            </a:extLst>
          </p:cNvPr>
          <p:cNvSpPr/>
          <p:nvPr/>
        </p:nvSpPr>
        <p:spPr bwMode="auto">
          <a:xfrm>
            <a:off x="2643270" y="3938085"/>
            <a:ext cx="5985756" cy="5486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40 Trailer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640B04B3-09F3-43AD-B424-C89F3648F65E}"/>
              </a:ext>
            </a:extLst>
          </p:cNvPr>
          <p:cNvSpPr/>
          <p:nvPr/>
        </p:nvSpPr>
        <p:spPr bwMode="auto">
          <a:xfrm>
            <a:off x="2643270" y="4567669"/>
            <a:ext cx="5985756" cy="5486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15,000 sq. m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8E7CF095-42FB-44C3-87E1-D1C72FF98722}"/>
              </a:ext>
            </a:extLst>
          </p:cNvPr>
          <p:cNvSpPr/>
          <p:nvPr/>
        </p:nvSpPr>
        <p:spPr bwMode="auto">
          <a:xfrm>
            <a:off x="2645770" y="5199750"/>
            <a:ext cx="5985756" cy="548640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4617B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c’18</a:t>
            </a:r>
          </a:p>
        </p:txBody>
      </p:sp>
    </p:spTree>
    <p:extLst>
      <p:ext uri="{BB962C8B-B14F-4D97-AF65-F5344CB8AC3E}">
        <p14:creationId xmlns:p14="http://schemas.microsoft.com/office/powerpoint/2010/main" xmlns="" val="49849469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1CE06F9-3543-49A5-8C1E-A20886A4E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Sea Port Connectivity – ICD Siliguri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27050872-07C0-4513-BBD6-D510D2137BB4}"/>
              </a:ext>
            </a:extLst>
          </p:cNvPr>
          <p:cNvGrpSpPr/>
          <p:nvPr/>
        </p:nvGrpSpPr>
        <p:grpSpPr>
          <a:xfrm>
            <a:off x="42202" y="956603"/>
            <a:ext cx="9059594" cy="5261318"/>
            <a:chOff x="42202" y="956603"/>
            <a:chExt cx="9059594" cy="526131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xmlns="" id="{669EB0D8-0CC4-4498-B967-DEE908C8FD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42202" y="956603"/>
              <a:ext cx="9059594" cy="5261318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xmlns="" id="{59037437-2056-4D13-B12E-476931654A96}"/>
                </a:ext>
              </a:extLst>
            </p:cNvPr>
            <p:cNvSpPr txBox="1"/>
            <p:nvPr/>
          </p:nvSpPr>
          <p:spPr>
            <a:xfrm>
              <a:off x="6189529" y="3152001"/>
              <a:ext cx="887895" cy="276999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</a:rPr>
                <a:t>585 Kms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xmlns="" id="{361C13C8-F900-42FF-9862-EE15DBD7B6C7}"/>
                </a:ext>
              </a:extLst>
            </p:cNvPr>
            <p:cNvSpPr txBox="1"/>
            <p:nvPr/>
          </p:nvSpPr>
          <p:spPr>
            <a:xfrm>
              <a:off x="5823411" y="3927532"/>
              <a:ext cx="887895" cy="276999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</a:rPr>
                <a:t>656 Kms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xmlns="" id="{A5E95544-0722-451E-A008-BC1011709B99}"/>
                </a:ext>
              </a:extLst>
            </p:cNvPr>
            <p:cNvSpPr txBox="1"/>
            <p:nvPr/>
          </p:nvSpPr>
          <p:spPr>
            <a:xfrm>
              <a:off x="4408577" y="4148833"/>
              <a:ext cx="887895" cy="276999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</a:rPr>
                <a:t>890 Km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xmlns="" id="{4152A793-968F-4E76-B25F-5CC23D43B198}"/>
                </a:ext>
              </a:extLst>
            </p:cNvPr>
            <p:cNvSpPr txBox="1"/>
            <p:nvPr/>
          </p:nvSpPr>
          <p:spPr>
            <a:xfrm>
              <a:off x="5196485" y="4733375"/>
              <a:ext cx="887895" cy="276999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</a:rPr>
                <a:t>995 Km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xmlns="" id="{871A6571-CFA7-4F1D-98AA-79B64D1676DA}"/>
                </a:ext>
              </a:extLst>
            </p:cNvPr>
            <p:cNvSpPr txBox="1"/>
            <p:nvPr/>
          </p:nvSpPr>
          <p:spPr>
            <a:xfrm>
              <a:off x="3341454" y="5901397"/>
              <a:ext cx="887895" cy="276999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</a:rPr>
                <a:t>1417 K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668068126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9E172F0-7E82-4816-94B9-B475761133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sz="2400" dirty="0"/>
              <a:t>Locational Overview – Catchment Analysi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47566B0-C435-4D5C-ADB9-CAB184C10A0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745" t="13334" r="7213" b="6481"/>
          <a:stretch/>
        </p:blipFill>
        <p:spPr>
          <a:xfrm>
            <a:off x="0" y="996255"/>
            <a:ext cx="9171226" cy="5101782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xmlns="" id="{369626B8-0CF8-4E48-9C3F-EA7B1A9F69F3}"/>
              </a:ext>
            </a:extLst>
          </p:cNvPr>
          <p:cNvSpPr/>
          <p:nvPr/>
        </p:nvSpPr>
        <p:spPr bwMode="auto">
          <a:xfrm rot="16674619">
            <a:off x="1376108" y="3785291"/>
            <a:ext cx="1110887" cy="3495169"/>
          </a:xfrm>
          <a:prstGeom prst="ellipse">
            <a:avLst/>
          </a:prstGeom>
          <a:solidFill>
            <a:srgbClr val="FF0000">
              <a:alpha val="32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A0AE9BD3-A7D2-41B9-A896-2866D09AE8F3}"/>
              </a:ext>
            </a:extLst>
          </p:cNvPr>
          <p:cNvSpPr/>
          <p:nvPr/>
        </p:nvSpPr>
        <p:spPr>
          <a:xfrm>
            <a:off x="0" y="5347341"/>
            <a:ext cx="3027025" cy="523220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pPr marL="0" lvl="1" algn="just"/>
            <a:r>
              <a:rPr lang="en-IN" sz="1400" b="1" dirty="0">
                <a:solidFill>
                  <a:srgbClr val="002776"/>
                </a:solidFill>
                <a:latin typeface="Arial"/>
              </a:rPr>
              <a:t>Meat Industry  – Slaughter House (100% EOU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D6237E2F-50CC-4BBE-A27A-290B4E1CAB3B}"/>
              </a:ext>
            </a:extLst>
          </p:cNvPr>
          <p:cNvSpPr txBox="1"/>
          <p:nvPr/>
        </p:nvSpPr>
        <p:spPr>
          <a:xfrm>
            <a:off x="4247147" y="3970421"/>
            <a:ext cx="1227221" cy="307777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ICD Siliguri</a:t>
            </a:r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AB0B2321-DD73-43F0-90E6-865E2C0D6617}"/>
              </a:ext>
            </a:extLst>
          </p:cNvPr>
          <p:cNvSpPr/>
          <p:nvPr/>
        </p:nvSpPr>
        <p:spPr bwMode="auto">
          <a:xfrm rot="20303327">
            <a:off x="-69607" y="2240420"/>
            <a:ext cx="3363017" cy="2613452"/>
          </a:xfrm>
          <a:prstGeom prst="ellipse">
            <a:avLst/>
          </a:prstGeom>
          <a:solidFill>
            <a:schemeClr val="accent1">
              <a:alpha val="34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F944B96-59F9-4ED5-A942-41D94C2751E7}"/>
              </a:ext>
            </a:extLst>
          </p:cNvPr>
          <p:cNvSpPr/>
          <p:nvPr/>
        </p:nvSpPr>
        <p:spPr>
          <a:xfrm>
            <a:off x="686798" y="2786865"/>
            <a:ext cx="1857297" cy="369332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IN" b="1" dirty="0">
                <a:solidFill>
                  <a:srgbClr val="C00000"/>
                </a:solidFill>
                <a:latin typeface="Arial"/>
              </a:rPr>
              <a:t>Nepal Cluster</a:t>
            </a:r>
            <a:endParaRPr lang="en-IN" dirty="0">
              <a:solidFill>
                <a:srgbClr val="C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1740AF94-CA79-449A-B67E-F477B3DD25DF}"/>
              </a:ext>
            </a:extLst>
          </p:cNvPr>
          <p:cNvSpPr/>
          <p:nvPr/>
        </p:nvSpPr>
        <p:spPr>
          <a:xfrm>
            <a:off x="0" y="3167390"/>
            <a:ext cx="3152274" cy="73866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en-IN" sz="1400" b="1" dirty="0" err="1">
                <a:solidFill>
                  <a:srgbClr val="002776"/>
                </a:solidFill>
                <a:latin typeface="Arial"/>
              </a:rPr>
              <a:t>Panitanki</a:t>
            </a:r>
            <a:r>
              <a:rPr lang="en-IN" sz="1400" b="1" dirty="0">
                <a:solidFill>
                  <a:srgbClr val="002776"/>
                </a:solidFill>
                <a:latin typeface="Arial"/>
              </a:rPr>
              <a:t> – </a:t>
            </a:r>
            <a:r>
              <a:rPr lang="en-IN" sz="1400" b="1" dirty="0" err="1">
                <a:solidFill>
                  <a:srgbClr val="002776"/>
                </a:solidFill>
                <a:latin typeface="Arial"/>
              </a:rPr>
              <a:t>Kakarbittha</a:t>
            </a:r>
            <a:r>
              <a:rPr lang="en-IN" sz="1400" b="1" dirty="0">
                <a:solidFill>
                  <a:srgbClr val="002776"/>
                </a:solidFill>
                <a:latin typeface="Arial"/>
              </a:rPr>
              <a:t> Land Customs Station – 33 KM from ICD Siliguri</a:t>
            </a:r>
            <a:endParaRPr lang="en-IN" sz="1400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0DF638E4-8A91-4FC7-9F08-73CF45E952AC}"/>
              </a:ext>
            </a:extLst>
          </p:cNvPr>
          <p:cNvSpPr/>
          <p:nvPr/>
        </p:nvSpPr>
        <p:spPr bwMode="auto">
          <a:xfrm>
            <a:off x="3738949" y="3071947"/>
            <a:ext cx="2098623" cy="1668214"/>
          </a:xfrm>
          <a:prstGeom prst="ellipse">
            <a:avLst/>
          </a:prstGeom>
          <a:solidFill>
            <a:srgbClr val="00B050">
              <a:alpha val="28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C29835A3-6191-4071-AEED-16354E5A6570}"/>
              </a:ext>
            </a:extLst>
          </p:cNvPr>
          <p:cNvSpPr/>
          <p:nvPr/>
        </p:nvSpPr>
        <p:spPr>
          <a:xfrm>
            <a:off x="4070888" y="2902110"/>
            <a:ext cx="1529876" cy="73866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en-IN" sz="1400" b="1" dirty="0">
                <a:solidFill>
                  <a:srgbClr val="002776"/>
                </a:solidFill>
                <a:latin typeface="Arial"/>
              </a:rPr>
              <a:t>Tea Industries, Consumer and Industrial items </a:t>
            </a:r>
            <a:endParaRPr lang="en-IN" sz="1400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025E0401-71F9-40F6-A8FF-90F30EF2150C}"/>
              </a:ext>
            </a:extLst>
          </p:cNvPr>
          <p:cNvSpPr/>
          <p:nvPr/>
        </p:nvSpPr>
        <p:spPr bwMode="auto">
          <a:xfrm>
            <a:off x="2997514" y="1074086"/>
            <a:ext cx="2098623" cy="1668214"/>
          </a:xfrm>
          <a:prstGeom prst="ellipse">
            <a:avLst/>
          </a:prstGeom>
          <a:solidFill>
            <a:schemeClr val="tx2">
              <a:alpha val="2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8563A81C-0C86-4E1E-80FA-B193B9071267}"/>
              </a:ext>
            </a:extLst>
          </p:cNvPr>
          <p:cNvSpPr/>
          <p:nvPr/>
        </p:nvSpPr>
        <p:spPr>
          <a:xfrm>
            <a:off x="3162434" y="1630660"/>
            <a:ext cx="1959007" cy="307777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en-IN" sz="1400" b="1" dirty="0">
                <a:solidFill>
                  <a:srgbClr val="002776"/>
                </a:solidFill>
                <a:latin typeface="Arial"/>
              </a:rPr>
              <a:t>Pharma Industri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7113C5B8-8823-4141-BA55-76BD0D9FCA34}"/>
              </a:ext>
            </a:extLst>
          </p:cNvPr>
          <p:cNvSpPr/>
          <p:nvPr/>
        </p:nvSpPr>
        <p:spPr bwMode="auto">
          <a:xfrm>
            <a:off x="5801363" y="3429000"/>
            <a:ext cx="1459397" cy="1232557"/>
          </a:xfrm>
          <a:prstGeom prst="ellipse">
            <a:avLst/>
          </a:prstGeom>
          <a:solidFill>
            <a:schemeClr val="tx2">
              <a:alpha val="28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A6BA9C72-C8F7-41F2-9B41-FB023C34D4BD}"/>
              </a:ext>
            </a:extLst>
          </p:cNvPr>
          <p:cNvSpPr/>
          <p:nvPr/>
        </p:nvSpPr>
        <p:spPr>
          <a:xfrm>
            <a:off x="5801363" y="3882579"/>
            <a:ext cx="1459397" cy="523220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en-IN" sz="1400" b="1" dirty="0">
                <a:solidFill>
                  <a:srgbClr val="002776"/>
                </a:solidFill>
                <a:latin typeface="Arial"/>
              </a:rPr>
              <a:t>Tea Industries</a:t>
            </a:r>
          </a:p>
          <a:p>
            <a:r>
              <a:rPr lang="en-IN" sz="1400" b="1" dirty="0">
                <a:solidFill>
                  <a:srgbClr val="002776"/>
                </a:solidFill>
                <a:latin typeface="Arial"/>
              </a:rPr>
              <a:t>Agri Exports</a:t>
            </a:r>
            <a:endParaRPr lang="en-IN" sz="1400" dirty="0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31F163B3-2FA5-4B98-8C93-3C0C116A67BD}"/>
              </a:ext>
            </a:extLst>
          </p:cNvPr>
          <p:cNvSpPr/>
          <p:nvPr/>
        </p:nvSpPr>
        <p:spPr bwMode="auto">
          <a:xfrm rot="20303327">
            <a:off x="6190372" y="1946065"/>
            <a:ext cx="2628052" cy="1423996"/>
          </a:xfrm>
          <a:prstGeom prst="ellipse">
            <a:avLst/>
          </a:prstGeom>
          <a:solidFill>
            <a:schemeClr val="accent1">
              <a:alpha val="34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FDCD6B36-D179-4DDD-8498-F494C52E5A2A}"/>
              </a:ext>
            </a:extLst>
          </p:cNvPr>
          <p:cNvSpPr/>
          <p:nvPr/>
        </p:nvSpPr>
        <p:spPr>
          <a:xfrm>
            <a:off x="6867846" y="1998700"/>
            <a:ext cx="1857297" cy="369332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IN" b="1" dirty="0">
                <a:solidFill>
                  <a:srgbClr val="C00000"/>
                </a:solidFill>
                <a:latin typeface="Arial"/>
              </a:rPr>
              <a:t>Bhutan Cluster</a:t>
            </a:r>
            <a:endParaRPr lang="en-IN" dirty="0">
              <a:solidFill>
                <a:srgbClr val="C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06179073-B075-421D-A795-B3FA4DECF757}"/>
              </a:ext>
            </a:extLst>
          </p:cNvPr>
          <p:cNvSpPr/>
          <p:nvPr/>
        </p:nvSpPr>
        <p:spPr>
          <a:xfrm>
            <a:off x="6201888" y="2482704"/>
            <a:ext cx="2677417" cy="73866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en-IN" sz="1400" b="1" dirty="0" err="1">
                <a:solidFill>
                  <a:srgbClr val="002776"/>
                </a:solidFill>
                <a:latin typeface="Arial"/>
              </a:rPr>
              <a:t>Phuentsholing</a:t>
            </a:r>
            <a:r>
              <a:rPr lang="en-IN" sz="1400" b="1" dirty="0">
                <a:solidFill>
                  <a:srgbClr val="002776"/>
                </a:solidFill>
                <a:latin typeface="Arial"/>
              </a:rPr>
              <a:t> Land Customs Station – 147 KM from ICD Siliguri</a:t>
            </a:r>
            <a:endParaRPr lang="en-IN" sz="1400" dirty="0"/>
          </a:p>
        </p:txBody>
      </p:sp>
    </p:spTree>
    <p:extLst>
      <p:ext uri="{BB962C8B-B14F-4D97-AF65-F5344CB8AC3E}">
        <p14:creationId xmlns:p14="http://schemas.microsoft.com/office/powerpoint/2010/main" xmlns="" val="3608108623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A5A74C4-96BC-4131-81B4-8C997FC48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350" y="234950"/>
            <a:ext cx="7583170" cy="563563"/>
          </a:xfrm>
        </p:spPr>
        <p:txBody>
          <a:bodyPr/>
          <a:lstStyle/>
          <a:p>
            <a:r>
              <a:rPr lang="en-IN" sz="2800" dirty="0"/>
              <a:t>Asian Highway – Bangladesh, Nepal &amp; Bhuta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03158AF-3788-4054-9C83-E52C5DC573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056309"/>
            <a:ext cx="8757920" cy="4964222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xmlns="" id="{E1B37A59-0FCA-467A-97A6-681D17D38C00}"/>
              </a:ext>
            </a:extLst>
          </p:cNvPr>
          <p:cNvCxnSpPr>
            <a:cxnSpLocks/>
          </p:cNvCxnSpPr>
          <p:nvPr/>
        </p:nvCxnSpPr>
        <p:spPr>
          <a:xfrm flipH="1">
            <a:off x="3982720" y="2973735"/>
            <a:ext cx="396240" cy="94585"/>
          </a:xfrm>
          <a:prstGeom prst="straightConnector1">
            <a:avLst/>
          </a:prstGeom>
          <a:ln w="25400">
            <a:solidFill>
              <a:schemeClr val="dk1"/>
            </a:solidFill>
            <a:headEnd type="none" w="med" len="med"/>
            <a:tailEnd type="triangle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DE3807A-E479-45F5-BBAC-28272C030E83}"/>
              </a:ext>
            </a:extLst>
          </p:cNvPr>
          <p:cNvSpPr/>
          <p:nvPr/>
        </p:nvSpPr>
        <p:spPr>
          <a:xfrm>
            <a:off x="4378960" y="2773680"/>
            <a:ext cx="1743362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ite Location</a:t>
            </a:r>
          </a:p>
        </p:txBody>
      </p:sp>
    </p:spTree>
    <p:extLst>
      <p:ext uri="{BB962C8B-B14F-4D97-AF65-F5344CB8AC3E}">
        <p14:creationId xmlns:p14="http://schemas.microsoft.com/office/powerpoint/2010/main" xmlns="" val="2888303242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00BE503-4077-4E08-8FE9-015B3F662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CD Siliguri – Nepal Clust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18AF294-38A7-4350-A73E-9B7F25848A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0160" y="799833"/>
            <a:ext cx="9144000" cy="5441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14131912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ur Offerings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748136" y="1219200"/>
            <a:ext cx="8007937" cy="498764"/>
          </a:xfrm>
          <a:prstGeom prst="rect">
            <a:avLst/>
          </a:prstGeom>
          <a:solidFill>
            <a:srgbClr val="FFFF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89699" y="1274618"/>
            <a:ext cx="7966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Rail-linked Terminal Infrastructure within a gated complex</a:t>
            </a:r>
          </a:p>
        </p:txBody>
      </p:sp>
      <p:sp>
        <p:nvSpPr>
          <p:cNvPr id="5" name="Oval 4"/>
          <p:cNvSpPr/>
          <p:nvPr/>
        </p:nvSpPr>
        <p:spPr bwMode="auto">
          <a:xfrm>
            <a:off x="429482" y="1011380"/>
            <a:ext cx="360218" cy="332509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734282" y="1981207"/>
            <a:ext cx="8007937" cy="498764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75845" y="2036625"/>
            <a:ext cx="7966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ontainer/ Cargo handling services at the rail side</a:t>
            </a:r>
          </a:p>
        </p:txBody>
      </p:sp>
      <p:sp>
        <p:nvSpPr>
          <p:cNvPr id="19" name="Oval 18"/>
          <p:cNvSpPr/>
          <p:nvPr/>
        </p:nvSpPr>
        <p:spPr bwMode="auto">
          <a:xfrm>
            <a:off x="415628" y="1773387"/>
            <a:ext cx="360218" cy="332509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2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748132" y="2770924"/>
            <a:ext cx="8007937" cy="49876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89695" y="2826342"/>
            <a:ext cx="7966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Warehousing services, as per your specification, within the gated complex</a:t>
            </a:r>
          </a:p>
        </p:txBody>
      </p:sp>
      <p:sp>
        <p:nvSpPr>
          <p:cNvPr id="22" name="Oval 21"/>
          <p:cNvSpPr/>
          <p:nvPr/>
        </p:nvSpPr>
        <p:spPr bwMode="auto">
          <a:xfrm>
            <a:off x="429478" y="2563104"/>
            <a:ext cx="360218" cy="332509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3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734279" y="3519065"/>
            <a:ext cx="8007937" cy="498764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842" y="3574483"/>
            <a:ext cx="7966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Rail Transportation across Indian Network</a:t>
            </a:r>
          </a:p>
        </p:txBody>
      </p:sp>
      <p:sp>
        <p:nvSpPr>
          <p:cNvPr id="25" name="Oval 24"/>
          <p:cNvSpPr/>
          <p:nvPr/>
        </p:nvSpPr>
        <p:spPr bwMode="auto">
          <a:xfrm>
            <a:off x="415625" y="3311245"/>
            <a:ext cx="360218" cy="332509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/>
                </a:solidFill>
                <a:latin typeface="Arial" charset="0"/>
              </a:rPr>
              <a:t>4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720425" y="4281072"/>
            <a:ext cx="8007937" cy="498764"/>
          </a:xfrm>
          <a:prstGeom prst="rect">
            <a:avLst/>
          </a:prstGeom>
          <a:solidFill>
            <a:srgbClr val="7030A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1988" y="4336490"/>
            <a:ext cx="7966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Last mile transportation</a:t>
            </a:r>
          </a:p>
        </p:txBody>
      </p:sp>
      <p:sp>
        <p:nvSpPr>
          <p:cNvPr id="28" name="Oval 27"/>
          <p:cNvSpPr/>
          <p:nvPr/>
        </p:nvSpPr>
        <p:spPr bwMode="auto">
          <a:xfrm>
            <a:off x="401771" y="4073252"/>
            <a:ext cx="360218" cy="332509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>
                <a:solidFill>
                  <a:schemeClr val="bg1"/>
                </a:solidFill>
                <a:latin typeface="Arial" charset="0"/>
              </a:rPr>
              <a:t>5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748127" y="5029219"/>
            <a:ext cx="8007937" cy="49876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89690" y="5084637"/>
            <a:ext cx="7966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omplete 3PL services including inventory management, sales &amp; distribution</a:t>
            </a:r>
          </a:p>
        </p:txBody>
      </p:sp>
      <p:sp>
        <p:nvSpPr>
          <p:cNvPr id="33" name="Oval 32"/>
          <p:cNvSpPr/>
          <p:nvPr/>
        </p:nvSpPr>
        <p:spPr bwMode="auto">
          <a:xfrm>
            <a:off x="429473" y="4821399"/>
            <a:ext cx="360218" cy="332509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xmlns="" val="3760780536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CD Siliguri - A Pictorial Snap Shot</a:t>
            </a:r>
          </a:p>
        </p:txBody>
      </p:sp>
      <p:pic>
        <p:nvPicPr>
          <p:cNvPr id="6" name="Picture 5" descr="A sign on a dirt field&#10;&#10;Description generated with high confidence">
            <a:extLst>
              <a:ext uri="{FF2B5EF4-FFF2-40B4-BE49-F238E27FC236}">
                <a16:creationId xmlns:a16="http://schemas.microsoft.com/office/drawing/2014/main" xmlns="" id="{2F8957C7-71BC-4A9A-9A9F-D3CA86FC9B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161" y="851277"/>
            <a:ext cx="4709052" cy="2826000"/>
          </a:xfrm>
          <a:prstGeom prst="rect">
            <a:avLst/>
          </a:prstGeom>
        </p:spPr>
      </p:pic>
      <p:pic>
        <p:nvPicPr>
          <p:cNvPr id="9" name="Picture 8" descr="A large white building&#10;&#10;Description generated with very high confidence">
            <a:extLst>
              <a:ext uri="{FF2B5EF4-FFF2-40B4-BE49-F238E27FC236}">
                <a16:creationId xmlns:a16="http://schemas.microsoft.com/office/drawing/2014/main" xmlns="" id="{9B1F720E-28B3-419B-B937-D20A0A1AD20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4104"/>
          <a:stretch/>
        </p:blipFill>
        <p:spPr>
          <a:xfrm>
            <a:off x="4704078" y="855199"/>
            <a:ext cx="4430512" cy="2826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9E81404-F1D2-4CA2-98E1-02C917C120F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207"/>
          <a:stretch/>
        </p:blipFill>
        <p:spPr>
          <a:xfrm rot="5400000">
            <a:off x="3169156" y="265077"/>
            <a:ext cx="2825999" cy="914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4311662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4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  The Pristine Group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075815E0-B241-4E0B-8521-F6C615FFDBFA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1" y="13404"/>
            <a:ext cx="1005840" cy="1005840"/>
          </a:xfrm>
          <a:prstGeom prst="rect">
            <a:avLst/>
          </a:prstGeom>
          <a:noFill/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5A784691-88A0-4970-85EB-FDE1BE83386D}"/>
              </a:ext>
            </a:extLst>
          </p:cNvPr>
          <p:cNvSpPr txBox="1"/>
          <p:nvPr/>
        </p:nvSpPr>
        <p:spPr>
          <a:xfrm>
            <a:off x="5181599" y="1147610"/>
            <a:ext cx="3823855" cy="172662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858838" lvl="1" indent="-222250" defTabSz="3556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US" sz="1200" dirty="0">
                <a:solidFill>
                  <a:sysClr val="windowText" lastClr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ristine believe in Innovative and Customized Solutions to its customers</a:t>
            </a:r>
          </a:p>
          <a:p>
            <a:pPr marL="1163638" lvl="4" indent="-263525" algn="just" defTabSz="3556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Ø"/>
              <a:defRPr/>
            </a:pPr>
            <a:r>
              <a:rPr lang="en-US" sz="1200" dirty="0">
                <a:solidFill>
                  <a:sysClr val="windowText" lastClr="000000"/>
                </a:solidFill>
                <a:latin typeface="Segoe UI" pitchFamily="34" charset="0"/>
                <a:cs typeface="Segoe UI" pitchFamily="34" charset="0"/>
              </a:rPr>
              <a:t>First of its kind integrated terminals</a:t>
            </a:r>
          </a:p>
          <a:p>
            <a:pPr marL="1163638" lvl="4" indent="-263525" algn="just" defTabSz="3556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Ø"/>
              <a:defRPr/>
            </a:pPr>
            <a:r>
              <a:rPr lang="en-US" sz="1200" dirty="0">
                <a:solidFill>
                  <a:sysClr val="windowText" lastClr="000000"/>
                </a:solidFill>
                <a:latin typeface="Segoe UI" pitchFamily="34" charset="0"/>
                <a:cs typeface="Segoe UI" pitchFamily="34" charset="0"/>
              </a:rPr>
              <a:t>Launch of Dwarf Container – A new class of containers</a:t>
            </a:r>
          </a:p>
          <a:p>
            <a:pPr marL="1163638" lvl="4" indent="-263525" algn="just" defTabSz="3556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Ø"/>
              <a:defRPr/>
            </a:pPr>
            <a:r>
              <a:rPr lang="en-US" sz="1200" dirty="0">
                <a:solidFill>
                  <a:sysClr val="windowText" lastClr="000000"/>
                </a:solidFill>
                <a:latin typeface="Segoe UI" pitchFamily="34" charset="0"/>
                <a:cs typeface="Segoe UI" pitchFamily="34" charset="0"/>
              </a:rPr>
              <a:t>Best in class technology backed services</a:t>
            </a:r>
          </a:p>
          <a:p>
            <a:pPr marL="1316038" lvl="2" indent="-222250" defTabSz="3556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endParaRPr lang="en-US" sz="1200" dirty="0">
              <a:solidFill>
                <a:sysClr val="windowText" lastClr="000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081088" lvl="4" algn="just" defTabSz="3556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defRPr/>
            </a:pPr>
            <a:endParaRPr lang="en-US" sz="1200" dirty="0">
              <a:solidFill>
                <a:sysClr val="windowText" lastClr="000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D6C70E86-77CB-485E-A721-BED48AE87208}"/>
              </a:ext>
            </a:extLst>
          </p:cNvPr>
          <p:cNvGrpSpPr/>
          <p:nvPr/>
        </p:nvGrpSpPr>
        <p:grpSpPr>
          <a:xfrm>
            <a:off x="138546" y="1189175"/>
            <a:ext cx="3672470" cy="1782016"/>
            <a:chOff x="138546" y="1410855"/>
            <a:chExt cx="3672470" cy="1782016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10E5D1E3-107B-4AA8-AB9B-7949FD8F9758}"/>
                </a:ext>
              </a:extLst>
            </p:cNvPr>
            <p:cNvSpPr/>
            <p:nvPr/>
          </p:nvSpPr>
          <p:spPr>
            <a:xfrm>
              <a:off x="138546" y="1410855"/>
              <a:ext cx="3672470" cy="17820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66667" tIns="66667" rIns="1004232" bIns="391787" numCol="1" spcCol="1270" anchor="t" anchorCtr="0">
              <a:noAutofit/>
            </a:bodyPr>
            <a:lstStyle/>
            <a:p>
              <a:pPr marL="57150" marR="0" lvl="1" indent="-57150" algn="l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4002D079-F7BD-4321-A1C6-EC01903A76F0}"/>
                </a:ext>
              </a:extLst>
            </p:cNvPr>
            <p:cNvSpPr txBox="1"/>
            <p:nvPr/>
          </p:nvSpPr>
          <p:spPr>
            <a:xfrm>
              <a:off x="138546" y="1429162"/>
              <a:ext cx="2909454" cy="15050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9388" lvl="3" indent="-179388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solidFill>
                    <a:sysClr val="windowText" lastClr="000000"/>
                  </a:solidFill>
                  <a:latin typeface="Segoe UI" pitchFamily="34" charset="0"/>
                  <a:cs typeface="Segoe UI" pitchFamily="34" charset="0"/>
                </a:rPr>
                <a:t>One of the largest private sector terminal operator in the country</a:t>
              </a:r>
            </a:p>
            <a:p>
              <a:pPr marL="179388" lvl="3" indent="-179388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IN" sz="1200" dirty="0">
                  <a:solidFill>
                    <a:sysClr val="windowText" lastClr="000000"/>
                  </a:solidFill>
                  <a:latin typeface="Segoe UI" pitchFamily="34" charset="0"/>
                  <a:cs typeface="Segoe UI" pitchFamily="34" charset="0"/>
                </a:rPr>
                <a:t>An ISO 9001, ISO 14001, BS OHSAS 18001 Certified Company</a:t>
              </a:r>
              <a:r>
                <a:rPr lang="en-US" sz="1200" dirty="0">
                  <a:solidFill>
                    <a:sysClr val="windowText" lastClr="000000"/>
                  </a:solidFill>
                  <a:latin typeface="Segoe UI" pitchFamily="34" charset="0"/>
                  <a:cs typeface="Segoe UI" pitchFamily="34" charset="0"/>
                </a:rPr>
                <a:t> </a:t>
              </a:r>
            </a:p>
            <a:p>
              <a:pPr marL="179388" lvl="3" indent="-179388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IN" sz="1200" dirty="0">
                  <a:solidFill>
                    <a:sysClr val="windowText" lastClr="000000"/>
                  </a:solidFill>
                  <a:latin typeface="Segoe UI" pitchFamily="34" charset="0"/>
                  <a:cs typeface="Segoe UI" pitchFamily="34" charset="0"/>
                </a:rPr>
                <a:t>Group founded by ex-IRTS officers</a:t>
              </a:r>
            </a:p>
            <a:p>
              <a:pPr marL="179388" lvl="3" indent="-179388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IN" sz="1200" dirty="0">
                  <a:solidFill>
                    <a:sysClr val="windowText" lastClr="000000"/>
                  </a:solidFill>
                  <a:latin typeface="Segoe UI" pitchFamily="34" charset="0"/>
                  <a:cs typeface="Segoe UI" pitchFamily="34" charset="0"/>
                </a:rPr>
                <a:t>Funded by UTI and CDC in past and currently by Global Infrastructure Partners (formerly IDFC Alternatives)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6C8E181F-D65E-4037-8900-6F8D322907FC}"/>
              </a:ext>
            </a:extLst>
          </p:cNvPr>
          <p:cNvGrpSpPr/>
          <p:nvPr/>
        </p:nvGrpSpPr>
        <p:grpSpPr>
          <a:xfrm>
            <a:off x="152396" y="4057068"/>
            <a:ext cx="3672470" cy="1782016"/>
            <a:chOff x="138546" y="1410855"/>
            <a:chExt cx="3672470" cy="178201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60EE9D6-2447-49F7-AA39-944BA05C0A5B}"/>
                </a:ext>
              </a:extLst>
            </p:cNvPr>
            <p:cNvSpPr/>
            <p:nvPr/>
          </p:nvSpPr>
          <p:spPr>
            <a:xfrm>
              <a:off x="138546" y="1410855"/>
              <a:ext cx="3672470" cy="1782016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66667" tIns="66667" rIns="1004232" bIns="391787" numCol="1" spcCol="1270" anchor="t" anchorCtr="0">
              <a:noAutofit/>
            </a:bodyPr>
            <a:lstStyle/>
            <a:p>
              <a:pPr marL="57150" marR="0" lvl="1" indent="-57150" algn="l" defTabSz="355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E8861482-8F2A-4CD1-8A0F-C24EFFFFAC3F}"/>
                </a:ext>
              </a:extLst>
            </p:cNvPr>
            <p:cNvSpPr txBox="1"/>
            <p:nvPr/>
          </p:nvSpPr>
          <p:spPr>
            <a:xfrm>
              <a:off x="138546" y="1466271"/>
              <a:ext cx="266007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9388" indent="-179388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ysClr val="windowText" lastClr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Present in all gamut of services from 2PL to 4PL</a:t>
              </a:r>
            </a:p>
            <a:p>
              <a:pPr marL="179388" indent="-179388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ysClr val="windowText" lastClr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Customer driven approach with complete cargo control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0F193417-2F43-46FB-9652-B88E1D912D16}"/>
                </a:ext>
              </a:extLst>
            </p:cNvPr>
            <p:cNvSpPr txBox="1"/>
            <p:nvPr/>
          </p:nvSpPr>
          <p:spPr>
            <a:xfrm>
              <a:off x="138546" y="2205048"/>
              <a:ext cx="3658620" cy="9417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9388" indent="-179388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ysClr val="windowText" lastClr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Our Cargo handling capability includes</a:t>
              </a:r>
            </a:p>
            <a:p>
              <a:pPr marL="512763" lvl="4" indent="-222250" algn="just" defTabSz="3556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Ø"/>
                <a:defRPr/>
              </a:pPr>
              <a:r>
                <a:rPr lang="en-US" sz="1200" dirty="0">
                  <a:solidFill>
                    <a:sysClr val="windowText" lastClr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Containers, Liquid Cargo, Refrigerated Cargo, Iron &amp; Steel, Cement, Food grains, sand, sponge, granite, gypsum, peas, dal, etc.</a:t>
              </a: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A91A095-83F6-43F1-8E0D-6173E0C004F4}"/>
              </a:ext>
            </a:extLst>
          </p:cNvPr>
          <p:cNvSpPr/>
          <p:nvPr/>
        </p:nvSpPr>
        <p:spPr>
          <a:xfrm>
            <a:off x="5210320" y="4140195"/>
            <a:ext cx="3781283" cy="1736445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spcFirstLastPara="0" vert="horz" wrap="square" lIns="1004231" tIns="391788" rIns="66668" bIns="66666" numCol="1" spcCol="1270" anchor="b" anchorCtr="0">
            <a:noAutofit/>
          </a:bodyPr>
          <a:lstStyle/>
          <a:p>
            <a:pPr marL="123825" marR="0" lvl="1" indent="-123825" algn="l" defTabSz="3556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Services through own infrastructure. Ensure control and continuity of services</a:t>
            </a:r>
          </a:p>
          <a:p>
            <a:pPr marL="401638" lvl="4" indent="-234950" algn="just" defTabSz="3556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Ø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Rail based terminal at 4 locations</a:t>
            </a:r>
          </a:p>
          <a:p>
            <a:pPr marL="401638" lvl="4" indent="-234950" algn="just" defTabSz="3556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Ø"/>
              <a:defRPr/>
            </a:pPr>
            <a:r>
              <a:rPr lang="en-US" sz="1200" dirty="0">
                <a:solidFill>
                  <a:sysClr val="windowText" lastClr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10 terminals under development</a:t>
            </a:r>
          </a:p>
          <a:p>
            <a:pPr marL="401638" lvl="4" indent="-234950" algn="just" defTabSz="3556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Ø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Fleet size of </a:t>
            </a:r>
            <a:r>
              <a:rPr lang="en-US" sz="1200" dirty="0">
                <a:solidFill>
                  <a:sysClr val="windowText" lastClr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300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en-US" sz="1200" dirty="0">
                <a:solidFill>
                  <a:sysClr val="windowText" lastClr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trailers</a:t>
            </a:r>
          </a:p>
          <a:p>
            <a:pPr marL="401638" lvl="4" indent="-234950" algn="just" defTabSz="3556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Wingdings" panose="05000000000000000000" pitchFamily="2" charset="2"/>
              <a:buChar char="Ø"/>
              <a:defRPr/>
            </a:pPr>
            <a:r>
              <a:rPr lang="en-US" sz="1200" dirty="0">
                <a:solidFill>
                  <a:sysClr val="windowText" lastClr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Category I license to operate container trains on Indian Railway network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9" name="Diagram 28">
            <a:extLst>
              <a:ext uri="{FF2B5EF4-FFF2-40B4-BE49-F238E27FC236}">
                <a16:creationId xmlns:a16="http://schemas.microsoft.com/office/drawing/2014/main" xmlns="" id="{72100A1E-AF0A-4230-8298-521C6A4EE229}"/>
              </a:ext>
            </a:extLst>
          </p:cNvPr>
          <p:cNvGraphicFramePr/>
          <p:nvPr>
            <p:extLst/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10777159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CD Siliguri - A Pictorial Snap Sho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D4AB665-4A9D-47FA-A49A-D2D2979C13F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628" b="19487"/>
          <a:stretch/>
        </p:blipFill>
        <p:spPr>
          <a:xfrm>
            <a:off x="-1165" y="843246"/>
            <a:ext cx="4731735" cy="269927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2EE0136F-EA7A-44BF-A145-D74DEE777F7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654" t="19384" b="18033"/>
          <a:stretch/>
        </p:blipFill>
        <p:spPr>
          <a:xfrm>
            <a:off x="4725416" y="852390"/>
            <a:ext cx="4418584" cy="269927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3A634DDC-5369-4CD0-B353-56977E82390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2092"/>
          <a:stretch/>
        </p:blipFill>
        <p:spPr>
          <a:xfrm>
            <a:off x="-1165" y="3550920"/>
            <a:ext cx="4721426" cy="269927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4BFA999-7161-43E5-A613-5A1D87017A0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15" t="16252" r="3944"/>
          <a:stretch/>
        </p:blipFill>
        <p:spPr>
          <a:xfrm>
            <a:off x="4720260" y="3550920"/>
            <a:ext cx="4423740" cy="2699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60594914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CD Siliguri – Engine Roll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EE9C20DA-7508-42DA-A7BC-75A0BC34BC5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-1" r="-203"/>
          <a:stretch/>
        </p:blipFill>
        <p:spPr>
          <a:xfrm>
            <a:off x="246925" y="1163777"/>
            <a:ext cx="3475325" cy="463665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34561BF-9CCA-4DD2-9CF8-7264F43B5E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3772"/>
          <a:stretch/>
        </p:blipFill>
        <p:spPr>
          <a:xfrm>
            <a:off x="3860798" y="1521668"/>
            <a:ext cx="5138882" cy="395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37502835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Bengal Global Business Summit - 2018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5BC819D9-CC22-4342-BD8C-BD19187034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133600" y="890994"/>
            <a:ext cx="5045510" cy="305130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7AE876BF-6C18-4940-87AF-E6F4A01F12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26478" y="4031677"/>
            <a:ext cx="7991578" cy="2101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58433794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ristine Group – Other Terminal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55364" y="916920"/>
            <a:ext cx="4357426" cy="240095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2092"/>
          <a:stretch/>
        </p:blipFill>
        <p:spPr>
          <a:xfrm>
            <a:off x="4733636" y="916920"/>
            <a:ext cx="4087091" cy="240095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46128" y="3486727"/>
            <a:ext cx="4357426" cy="254324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4742872" y="3510574"/>
            <a:ext cx="4087091" cy="2495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48873001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ristine Group – Other Terminal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707231" y="1048659"/>
            <a:ext cx="4292076" cy="241429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41305" y="1048659"/>
            <a:ext cx="4339988" cy="244124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27656" y="3698480"/>
            <a:ext cx="4357426" cy="228668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4680005" y="3678590"/>
            <a:ext cx="4346528" cy="2306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1000715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 Pristine Group - Marquee Cliente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DADF802A-E4B9-4ED0-811F-389F731FB9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6819" y="3747133"/>
            <a:ext cx="1598043" cy="43700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9600D609-8524-4D3C-8C43-1572706BF8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4433" y="1259444"/>
            <a:ext cx="1538315" cy="40235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26314525-1568-4BA8-862D-147C977819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6220" y="1200844"/>
            <a:ext cx="2479245" cy="51456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83E0A0E6-5505-43EF-9785-25DCB9DEA9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5273" y="1754276"/>
            <a:ext cx="1098809" cy="55997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5FE980BA-A077-4D3C-9044-C504E37F82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51039" y="1791997"/>
            <a:ext cx="1721710" cy="43649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4ACBECE3-D6BD-4197-9FC5-57ACCCF4E5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60688" y="1946989"/>
            <a:ext cx="1065759" cy="56884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FCC7E824-0283-4721-895C-310B582F32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72685" y="1738818"/>
            <a:ext cx="940607" cy="76021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39B3B33D-C831-4002-B720-90550246E75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2729" y="1223631"/>
            <a:ext cx="1261431" cy="35408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9D586470-E5E0-4D32-9AF3-BE39C975953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79296" y="1133915"/>
            <a:ext cx="1074888" cy="56807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BB1EF5C3-E844-48D6-8AD7-A176A14AD51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29203" y="2649619"/>
            <a:ext cx="1248259" cy="64676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B003A18A-8ED4-4B18-8D27-B9E5041611F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91648" y="2740687"/>
            <a:ext cx="1503232" cy="460005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ABB3697E-1E05-4BC1-BFBC-6178CA2C81E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2875" y="4814206"/>
            <a:ext cx="1352550" cy="62865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FC85369D-ACB1-4D45-B616-7B33C31DD2E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772685" y="5144341"/>
            <a:ext cx="1622218" cy="31493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10ABD0B7-F8E2-4864-9C0F-EA9ECFE21EE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310013" y="4046130"/>
            <a:ext cx="1310636" cy="1096318"/>
          </a:xfrm>
          <a:prstGeom prst="rect">
            <a:avLst/>
          </a:prstGeom>
        </p:spPr>
      </p:pic>
      <p:pic>
        <p:nvPicPr>
          <p:cNvPr id="39" name="Picture 2" descr="HPCL">
            <a:extLst>
              <a:ext uri="{FF2B5EF4-FFF2-40B4-BE49-F238E27FC236}">
                <a16:creationId xmlns:a16="http://schemas.microsoft.com/office/drawing/2014/main" xmlns="" id="{421353C7-B523-41DB-BE53-F4A552A450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325689" y="4264466"/>
            <a:ext cx="457518" cy="558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xmlns="" id="{EBE52405-CFB4-4FCF-8381-8EF66CA78F9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638701" y="3411646"/>
            <a:ext cx="1185642" cy="621051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xmlns="" id="{20096912-8565-43EB-BCD3-BD438CC8386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355440" y="2468779"/>
            <a:ext cx="912703" cy="668061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xmlns="" id="{DF8AAF20-F7D7-4788-B8E5-A1BEF50F443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29531" y="3007146"/>
            <a:ext cx="2038350" cy="923925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xmlns="" id="{96034C88-C0C0-46AB-8180-9DFF37D6D4B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63788" y="2592588"/>
            <a:ext cx="1470645" cy="402829"/>
          </a:xfrm>
          <a:prstGeom prst="rect">
            <a:avLst/>
          </a:prstGeom>
        </p:spPr>
      </p:pic>
      <p:pic>
        <p:nvPicPr>
          <p:cNvPr id="44" name="Picture 43" descr="Image result for ultratech logo">
            <a:extLst>
              <a:ext uri="{FF2B5EF4-FFF2-40B4-BE49-F238E27FC236}">
                <a16:creationId xmlns:a16="http://schemas.microsoft.com/office/drawing/2014/main" xmlns="" id="{9FCC47AB-B6E8-40DE-BAC6-019A50927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55273" y="4090125"/>
            <a:ext cx="727514" cy="619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4" descr="logo-greenlam">
            <a:extLst>
              <a:ext uri="{FF2B5EF4-FFF2-40B4-BE49-F238E27FC236}">
                <a16:creationId xmlns:a16="http://schemas.microsoft.com/office/drawing/2014/main" xmlns="" id="{650C6254-78B7-4EED-ABD9-1B205C6220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410998" y="4132395"/>
            <a:ext cx="944442" cy="487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 descr="Luminous India logo">
            <a:extLst>
              <a:ext uri="{FF2B5EF4-FFF2-40B4-BE49-F238E27FC236}">
                <a16:creationId xmlns:a16="http://schemas.microsoft.com/office/drawing/2014/main" xmlns="" id="{9A28B51D-7C21-4B2F-9369-B31B5AC2D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762118" y="4308018"/>
            <a:ext cx="1183280" cy="44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xmlns="" id="{808F10C2-5F52-4923-920E-7D935217554A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4825921" y="1268267"/>
            <a:ext cx="1458562" cy="49366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xmlns="" id="{E5BD02CA-D22A-4716-BC8A-E540ABD18EB8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494079" y="3337903"/>
            <a:ext cx="617816" cy="695298"/>
          </a:xfrm>
          <a:prstGeom prst="rect">
            <a:avLst/>
          </a:prstGeom>
        </p:spPr>
      </p:pic>
      <p:pic>
        <p:nvPicPr>
          <p:cNvPr id="49" name="Picture 48" descr="https://www.vardhman.com/images/elements/Logo-Icon.png">
            <a:extLst>
              <a:ext uri="{FF2B5EF4-FFF2-40B4-BE49-F238E27FC236}">
                <a16:creationId xmlns:a16="http://schemas.microsoft.com/office/drawing/2014/main" xmlns="" id="{93510931-5D33-4F98-8515-0D848EE2E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473843" y="1828744"/>
            <a:ext cx="657966" cy="1085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xmlns="" id="{05085809-E673-433F-BC33-0ECE4A7D760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466535" y="2045051"/>
            <a:ext cx="1348769" cy="344891"/>
          </a:xfrm>
          <a:prstGeom prst="rect">
            <a:avLst/>
          </a:prstGeom>
        </p:spPr>
      </p:pic>
      <p:pic>
        <p:nvPicPr>
          <p:cNvPr id="51" name="Picture 50" descr="emami Making people healty and beautiful, naturally">
            <a:extLst>
              <a:ext uri="{FF2B5EF4-FFF2-40B4-BE49-F238E27FC236}">
                <a16:creationId xmlns:a16="http://schemas.microsoft.com/office/drawing/2014/main" xmlns="" id="{4CC2FD25-0470-429D-B58D-1F3A58156A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703535" y="2926783"/>
            <a:ext cx="1381279" cy="664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32DCB8AA-C32C-4DCE-875E-B0D1D0F963F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827418" y="4212072"/>
            <a:ext cx="752788" cy="839648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11424161-9331-468D-B6C7-3CD031D51146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601915" y="4937696"/>
            <a:ext cx="1554518" cy="418924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xmlns="" id="{D79C280C-C20A-4AD3-980E-C6FA8A23C9F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682058" y="5231681"/>
            <a:ext cx="1204849" cy="175707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xmlns="" id="{60201039-BCEF-45A2-9037-0C1B2FD19545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33997" y="5425938"/>
            <a:ext cx="1067684" cy="735515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xmlns="" id="{8F9E1143-B0DF-4633-A51B-D5AE89442D40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b="-1"/>
          <a:stretch/>
        </p:blipFill>
        <p:spPr>
          <a:xfrm>
            <a:off x="1834433" y="5573360"/>
            <a:ext cx="1061167" cy="580584"/>
          </a:xfrm>
          <a:prstGeom prst="rect">
            <a:avLst/>
          </a:prstGeom>
        </p:spPr>
      </p:pic>
      <p:pic>
        <p:nvPicPr>
          <p:cNvPr id="58" name="Picture 57" descr="Hindustanpowerprojects Ltd. logo">
            <a:extLst>
              <a:ext uri="{FF2B5EF4-FFF2-40B4-BE49-F238E27FC236}">
                <a16:creationId xmlns:a16="http://schemas.microsoft.com/office/drawing/2014/main" xmlns="" id="{715DAF12-C579-4D9A-AE6C-2BE502B30C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946867" y="5598510"/>
            <a:ext cx="2043612" cy="471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xmlns="" id="{57BE3669-058E-4F20-AA34-7F83B2DC57C5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474307" y="5620620"/>
            <a:ext cx="1560022" cy="426872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xmlns="" id="{DF0368D2-A4AF-4CDB-AA50-8AB5B6A70937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210299" y="5360520"/>
            <a:ext cx="1665929" cy="475980"/>
          </a:xfrm>
          <a:prstGeom prst="rect">
            <a:avLst/>
          </a:prstGeom>
        </p:spPr>
      </p:pic>
      <p:pic>
        <p:nvPicPr>
          <p:cNvPr id="1026" name="Picture 2" descr="http://www.acclimited.com/assets/images/logo.png">
            <a:extLst>
              <a:ext uri="{FF2B5EF4-FFF2-40B4-BE49-F238E27FC236}">
                <a16:creationId xmlns:a16="http://schemas.microsoft.com/office/drawing/2014/main" xmlns="" id="{EFE46E38-EF65-4389-8596-2D98B2F20C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1" r="28647" b="-7208"/>
          <a:stretch/>
        </p:blipFill>
        <p:spPr bwMode="auto">
          <a:xfrm>
            <a:off x="7131817" y="3393323"/>
            <a:ext cx="1901347" cy="421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07076463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 Pristine Group - Marquee Clientele</a:t>
            </a:r>
          </a:p>
        </p:txBody>
      </p:sp>
      <p:pic>
        <p:nvPicPr>
          <p:cNvPr id="21" name="Picture 20" descr="Image result for MSC shipping line logo">
            <a:extLst>
              <a:ext uri="{FF2B5EF4-FFF2-40B4-BE49-F238E27FC236}">
                <a16:creationId xmlns:a16="http://schemas.microsoft.com/office/drawing/2014/main" xmlns="" id="{E85C4AED-A1FD-47EB-BB8E-35A19900B5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29051" y="1074939"/>
            <a:ext cx="1570657" cy="856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 descr="Image result for Maersk logo">
            <a:extLst>
              <a:ext uri="{FF2B5EF4-FFF2-40B4-BE49-F238E27FC236}">
                <a16:creationId xmlns:a16="http://schemas.microsoft.com/office/drawing/2014/main" xmlns="" id="{23B2F46B-93BF-4BC5-85E5-A10B4D1BF9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8560" y="967451"/>
            <a:ext cx="1021262" cy="921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 descr="Image result for CMA CGM logo">
            <a:extLst>
              <a:ext uri="{FF2B5EF4-FFF2-40B4-BE49-F238E27FC236}">
                <a16:creationId xmlns:a16="http://schemas.microsoft.com/office/drawing/2014/main" xmlns="" id="{F8B89DE9-ABFD-44CA-8602-7F58BC7E36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686028" y="839315"/>
            <a:ext cx="1372237" cy="906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 descr="Image result for NYK lines">
            <a:extLst>
              <a:ext uri="{FF2B5EF4-FFF2-40B4-BE49-F238E27FC236}">
                <a16:creationId xmlns:a16="http://schemas.microsoft.com/office/drawing/2014/main" xmlns="" id="{7916BC0A-3517-4390-80BB-52C7CCE386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630368" y="796166"/>
            <a:ext cx="1527474" cy="85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 descr="Image result for hapag lloyd logo">
            <a:extLst>
              <a:ext uri="{FF2B5EF4-FFF2-40B4-BE49-F238E27FC236}">
                <a16:creationId xmlns:a16="http://schemas.microsoft.com/office/drawing/2014/main" xmlns="" id="{38671038-B4AD-4DFC-9DA0-BB4434D3F0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494337" y="1002739"/>
            <a:ext cx="2520170" cy="399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Image result for APL logo">
            <a:extLst>
              <a:ext uri="{FF2B5EF4-FFF2-40B4-BE49-F238E27FC236}">
                <a16:creationId xmlns:a16="http://schemas.microsoft.com/office/drawing/2014/main" xmlns="" id="{A27027A8-22D9-4E6E-A9A8-61529A2502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956910" y="2287778"/>
            <a:ext cx="942319" cy="595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 descr="Image result for ZIM logo">
            <a:extLst>
              <a:ext uri="{FF2B5EF4-FFF2-40B4-BE49-F238E27FC236}">
                <a16:creationId xmlns:a16="http://schemas.microsoft.com/office/drawing/2014/main" xmlns="" id="{D2322098-AB27-44DC-BCB1-0424177C59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03084" y="2139290"/>
            <a:ext cx="894378" cy="894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0" descr="Image result for UASC logo">
            <a:extLst>
              <a:ext uri="{FF2B5EF4-FFF2-40B4-BE49-F238E27FC236}">
                <a16:creationId xmlns:a16="http://schemas.microsoft.com/office/drawing/2014/main" xmlns="" id="{0A6E06A2-3C04-43A4-9ABD-7DA21EAA6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786384" y="4639940"/>
            <a:ext cx="1228123" cy="1228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1" descr="Image result for KMTC logo">
            <a:extLst>
              <a:ext uri="{FF2B5EF4-FFF2-40B4-BE49-F238E27FC236}">
                <a16:creationId xmlns:a16="http://schemas.microsoft.com/office/drawing/2014/main" xmlns="" id="{8DB21A75-4A56-4977-B6CA-FD118919F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1909" y="3439555"/>
            <a:ext cx="1586661" cy="1269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 descr="Fasion Consul International">
            <a:extLst>
              <a:ext uri="{FF2B5EF4-FFF2-40B4-BE49-F238E27FC236}">
                <a16:creationId xmlns:a16="http://schemas.microsoft.com/office/drawing/2014/main" xmlns="" id="{386ECAA4-D9ED-45D0-AF9B-1559B9D443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253925" y="3722076"/>
            <a:ext cx="689188" cy="730707"/>
          </a:xfrm>
          <a:prstGeom prst="rect">
            <a:avLst/>
          </a:prstGeom>
          <a:solidFill>
            <a:srgbClr val="0070C0"/>
          </a:solidFill>
        </p:spPr>
      </p:pic>
      <p:pic>
        <p:nvPicPr>
          <p:cNvPr id="34" name="Picture 33" descr="Image result for SCI shipping logo">
            <a:extLst>
              <a:ext uri="{FF2B5EF4-FFF2-40B4-BE49-F238E27FC236}">
                <a16:creationId xmlns:a16="http://schemas.microsoft.com/office/drawing/2014/main" xmlns="" id="{C46A5F1A-9A22-4169-96AC-F0D44E4F38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205655" y="2050776"/>
            <a:ext cx="1425482" cy="1425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Image result for evergreen shipping logo">
            <a:extLst>
              <a:ext uri="{FF2B5EF4-FFF2-40B4-BE49-F238E27FC236}">
                <a16:creationId xmlns:a16="http://schemas.microsoft.com/office/drawing/2014/main" xmlns="" id="{19A0058B-5B60-40D0-BD53-D78034264A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704068" y="2320617"/>
            <a:ext cx="895152" cy="895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 descr="Image result for perma shipping logo">
            <a:extLst>
              <a:ext uri="{FF2B5EF4-FFF2-40B4-BE49-F238E27FC236}">
                <a16:creationId xmlns:a16="http://schemas.microsoft.com/office/drawing/2014/main" xmlns="" id="{FB983A16-B36F-4C35-BD97-0B8241580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452031" y="2130007"/>
            <a:ext cx="1345158" cy="108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 descr="Image result for transia shipping line logo">
            <a:extLst>
              <a:ext uri="{FF2B5EF4-FFF2-40B4-BE49-F238E27FC236}">
                <a16:creationId xmlns:a16="http://schemas.microsoft.com/office/drawing/2014/main" xmlns="" id="{DB4C37CB-B102-4BCD-9EF2-11E88D2664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9927" y="2467847"/>
            <a:ext cx="1323398" cy="600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 descr="United Liner Shipping Services LLP">
            <a:extLst>
              <a:ext uri="{FF2B5EF4-FFF2-40B4-BE49-F238E27FC236}">
                <a16:creationId xmlns:a16="http://schemas.microsoft.com/office/drawing/2014/main" xmlns="" id="{06EE16F5-2B21-4C80-A733-C7B19C9285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819102" y="4905619"/>
            <a:ext cx="1692925" cy="758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 descr="Image result for econ shipping logo">
            <a:extLst>
              <a:ext uri="{FF2B5EF4-FFF2-40B4-BE49-F238E27FC236}">
                <a16:creationId xmlns:a16="http://schemas.microsoft.com/office/drawing/2014/main" xmlns="" id="{994295AE-BEB3-476F-8F3C-76554D1A8A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656866" y="5020146"/>
            <a:ext cx="1160983" cy="580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 descr="Image result for T S lines logo">
            <a:extLst>
              <a:ext uri="{FF2B5EF4-FFF2-40B4-BE49-F238E27FC236}">
                <a16:creationId xmlns:a16="http://schemas.microsoft.com/office/drawing/2014/main" xmlns="" id="{2EC6A8EB-DD5B-4970-87F8-AB8672FF97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012098" y="4788472"/>
            <a:ext cx="1121244" cy="1121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0" descr="Image result for MOL shipping logo">
            <a:extLst>
              <a:ext uri="{FF2B5EF4-FFF2-40B4-BE49-F238E27FC236}">
                <a16:creationId xmlns:a16="http://schemas.microsoft.com/office/drawing/2014/main" xmlns="" id="{5817FC48-BA02-4B93-AD29-1BFBFE82B9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417115" y="4788472"/>
            <a:ext cx="1079591" cy="1079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1" descr="http://goodrich.co/wp-content/themes/goodrich-maritime/images/logo.png">
            <a:extLst>
              <a:ext uri="{FF2B5EF4-FFF2-40B4-BE49-F238E27FC236}">
                <a16:creationId xmlns:a16="http://schemas.microsoft.com/office/drawing/2014/main" xmlns="" id="{0F18B402-B14E-4222-8460-78C4AE07D6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496706" y="3655016"/>
            <a:ext cx="1596086" cy="515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 descr="Image result for hamburg sud logo">
            <a:extLst>
              <a:ext uri="{FF2B5EF4-FFF2-40B4-BE49-F238E27FC236}">
                <a16:creationId xmlns:a16="http://schemas.microsoft.com/office/drawing/2014/main" xmlns="" id="{00BE736B-2CF9-4B71-85A0-F70C7B9431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231272" y="3774488"/>
            <a:ext cx="2101411" cy="38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3" descr="Image result for OOCL logo">
            <a:extLst>
              <a:ext uri="{FF2B5EF4-FFF2-40B4-BE49-F238E27FC236}">
                <a16:creationId xmlns:a16="http://schemas.microsoft.com/office/drawing/2014/main" xmlns="" id="{0695737D-B462-42FC-A072-A97202CDF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36672" y="3824222"/>
            <a:ext cx="1612078" cy="499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4" descr="Emirates Shipping">
            <a:extLst>
              <a:ext uri="{FF2B5EF4-FFF2-40B4-BE49-F238E27FC236}">
                <a16:creationId xmlns:a16="http://schemas.microsoft.com/office/drawing/2014/main" xmlns="" id="{E1371096-C65C-4ED4-AA6E-900B47C604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127969" y="5020146"/>
            <a:ext cx="1421824" cy="4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767C6E93-DD05-40AC-900A-72906CB084E4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885743" y="2611117"/>
            <a:ext cx="12954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22519145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52401" y="5168899"/>
            <a:ext cx="42724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 Semibold" pitchFamily="34" charset="0"/>
                <a:ea typeface="Segoe UI" pitchFamily="34" charset="0"/>
                <a:cs typeface="Segoe UI" pitchFamily="34" charset="0"/>
              </a:rPr>
              <a:t>Address: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52400" y="5334000"/>
            <a:ext cx="88392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 Semibold" pitchFamily="34" charset="0"/>
                <a:ea typeface="Segoe UI" pitchFamily="34" charset="0"/>
                <a:cs typeface="Segoe UI" pitchFamily="34" charset="0"/>
              </a:rPr>
              <a:t>Corporate Office: </a:t>
            </a:r>
            <a:r>
              <a:rPr kumimoji="0" lang="en-IN" sz="9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Pristine, 3</a:t>
            </a:r>
            <a:r>
              <a:rPr kumimoji="0" lang="en-IN" sz="900" b="0" i="0" u="none" strike="noStrike" kern="0" cap="none" spc="0" normalizeH="0" baseline="3000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rd</a:t>
            </a:r>
            <a:r>
              <a:rPr kumimoji="0" lang="en-IN" sz="9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Floor, Wing – B,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Commercial Plaza, Hotel Radisson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Blu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,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Mahipalpur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, New Delhi-110037 |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  <a:sym typeface="Wingdings"/>
              </a:rPr>
              <a:t>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-  011 - 46772223/24/27/28, 47235800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826706" y="5334000"/>
            <a:ext cx="7955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4" name="Picture 13" descr="transport-logistis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2637561"/>
            <a:ext cx="9144000" cy="250166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52400" y="2971800"/>
            <a:ext cx="1591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itchFamily="34" charset="0"/>
              </a:rPr>
              <a:t>THANK YOU!</a:t>
            </a:r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228600" y="3352800"/>
            <a:ext cx="525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825A5C8-1F14-4127-A9CF-0F868AEBB7CB}"/>
              </a:ext>
            </a:extLst>
          </p:cNvPr>
          <p:cNvSpPr txBox="1"/>
          <p:nvPr/>
        </p:nvSpPr>
        <p:spPr>
          <a:xfrm>
            <a:off x="169890" y="3394020"/>
            <a:ext cx="3283271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itchFamily="34" charset="0"/>
              </a:rPr>
              <a:t>For more information, please contact: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itchFamily="34" charset="0"/>
              </a:rPr>
              <a:t>Aviral Jain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kern="0" dirty="0">
                <a:solidFill>
                  <a:schemeClr val="bg1"/>
                </a:solidFill>
                <a:latin typeface="Segoe UI Semibold" pitchFamily="34" charset="0"/>
              </a:rPr>
              <a:t>CEO &amp; Director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kern="0" dirty="0">
                <a:solidFill>
                  <a:schemeClr val="bg1"/>
                </a:solidFill>
                <a:latin typeface="Segoe UI Semibold" pitchFamily="34" charset="0"/>
              </a:rPr>
              <a:t>Pristine Hindustan Infraprojects Pvt. Ltd.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itchFamily="34" charset="0"/>
              </a:rPr>
              <a:t>Email: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itchFamily="34" charset="0"/>
              </a:rPr>
              <a:t>aviral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itchFamily="34" charset="0"/>
              </a:rPr>
              <a:t>@</a:t>
            </a:r>
            <a:r>
              <a:rPr lang="en-US" sz="1300" kern="0" dirty="0">
                <a:solidFill>
                  <a:schemeClr val="bg1"/>
                </a:solidFill>
                <a:latin typeface="Segoe UI Semibold" pitchFamily="34" charset="0"/>
              </a:rPr>
              <a:t>pristinehindustan.com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kern="0" dirty="0">
                <a:solidFill>
                  <a:schemeClr val="bg1"/>
                </a:solidFill>
                <a:latin typeface="Segoe UI Semibold" pitchFamily="34" charset="0"/>
              </a:rPr>
              <a:t>Cell: +91-88960-66620</a:t>
            </a:r>
          </a:p>
        </p:txBody>
      </p:sp>
    </p:spTree>
    <p:extLst>
      <p:ext uri="{BB962C8B-B14F-4D97-AF65-F5344CB8AC3E}">
        <p14:creationId xmlns:p14="http://schemas.microsoft.com/office/powerpoint/2010/main" xmlns="" val="3807611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4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ur Presen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F0B8CF3E-3452-47BA-8E5D-5593671F63CB}"/>
              </a:ext>
            </a:extLst>
          </p:cNvPr>
          <p:cNvGrpSpPr/>
          <p:nvPr/>
        </p:nvGrpSpPr>
        <p:grpSpPr>
          <a:xfrm>
            <a:off x="2302194" y="1044183"/>
            <a:ext cx="5012995" cy="5116772"/>
            <a:chOff x="1986936" y="1163783"/>
            <a:chExt cx="4588396" cy="4830312"/>
          </a:xfrm>
        </p:grpSpPr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xmlns="" id="{65B5722C-3FB7-44FC-AD3C-A0932C6A65E4}"/>
                </a:ext>
              </a:extLst>
            </p:cNvPr>
            <p:cNvGrpSpPr/>
            <p:nvPr/>
          </p:nvGrpSpPr>
          <p:grpSpPr>
            <a:xfrm>
              <a:off x="2270157" y="1163783"/>
              <a:ext cx="4305175" cy="4830312"/>
              <a:chOff x="2133600" y="762000"/>
              <a:chExt cx="5486400" cy="5562600"/>
            </a:xfrm>
          </p:grpSpPr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xmlns="" id="{8A681CE0-9B34-4255-BD97-A1EF34799CDB}"/>
                  </a:ext>
                </a:extLst>
              </p:cNvPr>
              <p:cNvGrpSpPr/>
              <p:nvPr/>
            </p:nvGrpSpPr>
            <p:grpSpPr>
              <a:xfrm>
                <a:off x="2133600" y="762000"/>
                <a:ext cx="5486400" cy="5562600"/>
                <a:chOff x="4876800" y="1371600"/>
                <a:chExt cx="4114800" cy="4572000"/>
              </a:xfrm>
            </p:grpSpPr>
            <p:grpSp>
              <p:nvGrpSpPr>
                <p:cNvPr id="120" name="Group 119">
                  <a:extLst>
                    <a:ext uri="{FF2B5EF4-FFF2-40B4-BE49-F238E27FC236}">
                      <a16:creationId xmlns:a16="http://schemas.microsoft.com/office/drawing/2014/main" xmlns="" id="{1DCBF1AE-DD41-4A8B-8EE4-13C685E8A72E}"/>
                    </a:ext>
                  </a:extLst>
                </p:cNvPr>
                <p:cNvGrpSpPr/>
                <p:nvPr/>
              </p:nvGrpSpPr>
              <p:grpSpPr>
                <a:xfrm>
                  <a:off x="4876800" y="1371600"/>
                  <a:ext cx="4114800" cy="4572000"/>
                  <a:chOff x="2208213" y="1169988"/>
                  <a:chExt cx="4724401" cy="5219701"/>
                </a:xfrm>
              </p:grpSpPr>
              <p:sp>
                <p:nvSpPr>
                  <p:cNvPr id="125" name="AutoShape 276">
                    <a:extLst>
                      <a:ext uri="{FF2B5EF4-FFF2-40B4-BE49-F238E27FC236}">
                        <a16:creationId xmlns:a16="http://schemas.microsoft.com/office/drawing/2014/main" xmlns="" id="{E613B9D3-FD4D-4B39-A562-4644113659E7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2211388" y="1169988"/>
                    <a:ext cx="4721225" cy="521970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26" name="Freeform 278">
                    <a:extLst>
                      <a:ext uri="{FF2B5EF4-FFF2-40B4-BE49-F238E27FC236}">
                        <a16:creationId xmlns:a16="http://schemas.microsoft.com/office/drawing/2014/main" xmlns="" id="{6607AE9C-AB62-4715-B31D-CEC881A7297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535738" y="3157538"/>
                    <a:ext cx="0" cy="3175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0"/>
                          <a:pt x="0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C1D837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27" name="Freeform 279">
                    <a:extLst>
                      <a:ext uri="{FF2B5EF4-FFF2-40B4-BE49-F238E27FC236}">
                        <a16:creationId xmlns:a16="http://schemas.microsoft.com/office/drawing/2014/main" xmlns="" id="{E94399B0-A3CD-4E0B-AFAC-ED752CF4DEB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342063" y="3387726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C1D837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28" name="Freeform 280">
                    <a:extLst>
                      <a:ext uri="{FF2B5EF4-FFF2-40B4-BE49-F238E27FC236}">
                        <a16:creationId xmlns:a16="http://schemas.microsoft.com/office/drawing/2014/main" xmlns="" id="{01B7129D-EB19-49CE-9997-511E3124585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43626" y="3348038"/>
                    <a:ext cx="7938" cy="3175"/>
                  </a:xfrm>
                  <a:custGeom>
                    <a:avLst/>
                    <a:gdLst>
                      <a:gd name="T0" fmla="*/ 2 w 2"/>
                      <a:gd name="T1" fmla="*/ 0 h 1"/>
                      <a:gd name="T2" fmla="*/ 0 w 2"/>
                      <a:gd name="T3" fmla="*/ 1 h 1"/>
                      <a:gd name="T4" fmla="*/ 1 w 2"/>
                      <a:gd name="T5" fmla="*/ 1 h 1"/>
                      <a:gd name="T6" fmla="*/ 2 w 2"/>
                      <a:gd name="T7" fmla="*/ 0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" h="1">
                        <a:moveTo>
                          <a:pt x="2" y="0"/>
                        </a:moveTo>
                        <a:cubicBezTo>
                          <a:pt x="1" y="0"/>
                          <a:pt x="1" y="1"/>
                          <a:pt x="0" y="1"/>
                        </a:cubicBezTo>
                        <a:cubicBezTo>
                          <a:pt x="1" y="1"/>
                          <a:pt x="1" y="1"/>
                          <a:pt x="1" y="1"/>
                        </a:cubicBezTo>
                        <a:cubicBezTo>
                          <a:pt x="2" y="1"/>
                          <a:pt x="2" y="1"/>
                          <a:pt x="2" y="0"/>
                        </a:cubicBezTo>
                        <a:close/>
                      </a:path>
                    </a:pathLst>
                  </a:custGeom>
                  <a:solidFill>
                    <a:srgbClr val="C1D837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29" name="Freeform 281">
                    <a:extLst>
                      <a:ext uri="{FF2B5EF4-FFF2-40B4-BE49-F238E27FC236}">
                        <a16:creationId xmlns:a16="http://schemas.microsoft.com/office/drawing/2014/main" xmlns="" id="{B9E3E5FE-1E78-4222-9EE3-E55119E7327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08213" y="3235326"/>
                    <a:ext cx="1046163" cy="817563"/>
                  </a:xfrm>
                  <a:custGeom>
                    <a:avLst/>
                    <a:gdLst>
                      <a:gd name="T0" fmla="*/ 274 w 296"/>
                      <a:gd name="T1" fmla="*/ 80 h 231"/>
                      <a:gd name="T2" fmla="*/ 250 w 296"/>
                      <a:gd name="T3" fmla="*/ 57 h 231"/>
                      <a:gd name="T4" fmla="*/ 244 w 296"/>
                      <a:gd name="T5" fmla="*/ 27 h 231"/>
                      <a:gd name="T6" fmla="*/ 217 w 296"/>
                      <a:gd name="T7" fmla="*/ 17 h 231"/>
                      <a:gd name="T8" fmla="*/ 192 w 296"/>
                      <a:gd name="T9" fmla="*/ 9 h 231"/>
                      <a:gd name="T10" fmla="*/ 164 w 296"/>
                      <a:gd name="T11" fmla="*/ 4 h 231"/>
                      <a:gd name="T12" fmla="*/ 146 w 296"/>
                      <a:gd name="T13" fmla="*/ 6 h 231"/>
                      <a:gd name="T14" fmla="*/ 146 w 296"/>
                      <a:gd name="T15" fmla="*/ 19 h 231"/>
                      <a:gd name="T16" fmla="*/ 118 w 296"/>
                      <a:gd name="T17" fmla="*/ 13 h 231"/>
                      <a:gd name="T18" fmla="*/ 89 w 296"/>
                      <a:gd name="T19" fmla="*/ 22 h 231"/>
                      <a:gd name="T20" fmla="*/ 63 w 296"/>
                      <a:gd name="T21" fmla="*/ 13 h 231"/>
                      <a:gd name="T22" fmla="*/ 42 w 296"/>
                      <a:gd name="T23" fmla="*/ 14 h 231"/>
                      <a:gd name="T24" fmla="*/ 16 w 296"/>
                      <a:gd name="T25" fmla="*/ 25 h 231"/>
                      <a:gd name="T26" fmla="*/ 3 w 296"/>
                      <a:gd name="T27" fmla="*/ 37 h 231"/>
                      <a:gd name="T28" fmla="*/ 22 w 296"/>
                      <a:gd name="T29" fmla="*/ 36 h 231"/>
                      <a:gd name="T30" fmla="*/ 18 w 296"/>
                      <a:gd name="T31" fmla="*/ 40 h 231"/>
                      <a:gd name="T32" fmla="*/ 21 w 296"/>
                      <a:gd name="T33" fmla="*/ 54 h 231"/>
                      <a:gd name="T34" fmla="*/ 27 w 296"/>
                      <a:gd name="T35" fmla="*/ 60 h 231"/>
                      <a:gd name="T36" fmla="*/ 51 w 296"/>
                      <a:gd name="T37" fmla="*/ 86 h 231"/>
                      <a:gd name="T38" fmla="*/ 79 w 296"/>
                      <a:gd name="T39" fmla="*/ 88 h 231"/>
                      <a:gd name="T40" fmla="*/ 99 w 296"/>
                      <a:gd name="T41" fmla="*/ 79 h 231"/>
                      <a:gd name="T42" fmla="*/ 107 w 296"/>
                      <a:gd name="T43" fmla="*/ 92 h 231"/>
                      <a:gd name="T44" fmla="*/ 87 w 296"/>
                      <a:gd name="T45" fmla="*/ 102 h 231"/>
                      <a:gd name="T46" fmla="*/ 78 w 296"/>
                      <a:gd name="T47" fmla="*/ 110 h 231"/>
                      <a:gd name="T48" fmla="*/ 66 w 296"/>
                      <a:gd name="T49" fmla="*/ 113 h 231"/>
                      <a:gd name="T50" fmla="*/ 52 w 296"/>
                      <a:gd name="T51" fmla="*/ 112 h 231"/>
                      <a:gd name="T52" fmla="*/ 40 w 296"/>
                      <a:gd name="T53" fmla="*/ 107 h 231"/>
                      <a:gd name="T54" fmla="*/ 38 w 296"/>
                      <a:gd name="T55" fmla="*/ 117 h 231"/>
                      <a:gd name="T56" fmla="*/ 72 w 296"/>
                      <a:gd name="T57" fmla="*/ 157 h 231"/>
                      <a:gd name="T58" fmla="*/ 101 w 296"/>
                      <a:gd name="T59" fmla="*/ 186 h 231"/>
                      <a:gd name="T60" fmla="*/ 127 w 296"/>
                      <a:gd name="T61" fmla="*/ 196 h 231"/>
                      <a:gd name="T62" fmla="*/ 156 w 296"/>
                      <a:gd name="T63" fmla="*/ 186 h 231"/>
                      <a:gd name="T64" fmla="*/ 180 w 296"/>
                      <a:gd name="T65" fmla="*/ 177 h 231"/>
                      <a:gd name="T66" fmla="*/ 192 w 296"/>
                      <a:gd name="T67" fmla="*/ 147 h 231"/>
                      <a:gd name="T68" fmla="*/ 194 w 296"/>
                      <a:gd name="T69" fmla="*/ 129 h 231"/>
                      <a:gd name="T70" fmla="*/ 212 w 296"/>
                      <a:gd name="T71" fmla="*/ 128 h 231"/>
                      <a:gd name="T72" fmla="*/ 204 w 296"/>
                      <a:gd name="T73" fmla="*/ 135 h 231"/>
                      <a:gd name="T74" fmla="*/ 204 w 296"/>
                      <a:gd name="T75" fmla="*/ 146 h 231"/>
                      <a:gd name="T76" fmla="*/ 205 w 296"/>
                      <a:gd name="T77" fmla="*/ 160 h 231"/>
                      <a:gd name="T78" fmla="*/ 209 w 296"/>
                      <a:gd name="T79" fmla="*/ 166 h 231"/>
                      <a:gd name="T80" fmla="*/ 205 w 296"/>
                      <a:gd name="T81" fmla="*/ 181 h 231"/>
                      <a:gd name="T82" fmla="*/ 210 w 296"/>
                      <a:gd name="T83" fmla="*/ 190 h 231"/>
                      <a:gd name="T84" fmla="*/ 212 w 296"/>
                      <a:gd name="T85" fmla="*/ 201 h 231"/>
                      <a:gd name="T86" fmla="*/ 201 w 296"/>
                      <a:gd name="T87" fmla="*/ 223 h 231"/>
                      <a:gd name="T88" fmla="*/ 224 w 296"/>
                      <a:gd name="T89" fmla="*/ 230 h 231"/>
                      <a:gd name="T90" fmla="*/ 235 w 296"/>
                      <a:gd name="T91" fmla="*/ 206 h 231"/>
                      <a:gd name="T92" fmla="*/ 257 w 296"/>
                      <a:gd name="T93" fmla="*/ 208 h 231"/>
                      <a:gd name="T94" fmla="*/ 247 w 296"/>
                      <a:gd name="T95" fmla="*/ 185 h 231"/>
                      <a:gd name="T96" fmla="*/ 272 w 296"/>
                      <a:gd name="T97" fmla="*/ 174 h 231"/>
                      <a:gd name="T98" fmla="*/ 263 w 296"/>
                      <a:gd name="T99" fmla="*/ 161 h 231"/>
                      <a:gd name="T100" fmla="*/ 275 w 296"/>
                      <a:gd name="T101" fmla="*/ 149 h 231"/>
                      <a:gd name="T102" fmla="*/ 284 w 296"/>
                      <a:gd name="T103" fmla="*/ 129 h 231"/>
                      <a:gd name="T104" fmla="*/ 292 w 296"/>
                      <a:gd name="T105" fmla="*/ 102 h 2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296" h="231">
                        <a:moveTo>
                          <a:pt x="289" y="93"/>
                        </a:moveTo>
                        <a:cubicBezTo>
                          <a:pt x="289" y="93"/>
                          <a:pt x="289" y="93"/>
                          <a:pt x="289" y="93"/>
                        </a:cubicBezTo>
                        <a:cubicBezTo>
                          <a:pt x="289" y="91"/>
                          <a:pt x="289" y="88"/>
                          <a:pt x="287" y="88"/>
                        </a:cubicBezTo>
                        <a:cubicBezTo>
                          <a:pt x="286" y="88"/>
                          <a:pt x="281" y="90"/>
                          <a:pt x="281" y="87"/>
                        </a:cubicBezTo>
                        <a:cubicBezTo>
                          <a:pt x="282" y="84"/>
                          <a:pt x="283" y="83"/>
                          <a:pt x="281" y="81"/>
                        </a:cubicBezTo>
                        <a:cubicBezTo>
                          <a:pt x="279" y="79"/>
                          <a:pt x="276" y="80"/>
                          <a:pt x="274" y="80"/>
                        </a:cubicBezTo>
                        <a:cubicBezTo>
                          <a:pt x="274" y="79"/>
                          <a:pt x="274" y="79"/>
                          <a:pt x="274" y="79"/>
                        </a:cubicBezTo>
                        <a:cubicBezTo>
                          <a:pt x="271" y="80"/>
                          <a:pt x="271" y="76"/>
                          <a:pt x="269" y="75"/>
                        </a:cubicBezTo>
                        <a:cubicBezTo>
                          <a:pt x="267" y="75"/>
                          <a:pt x="263" y="76"/>
                          <a:pt x="262" y="74"/>
                        </a:cubicBezTo>
                        <a:cubicBezTo>
                          <a:pt x="258" y="71"/>
                          <a:pt x="265" y="61"/>
                          <a:pt x="256" y="66"/>
                        </a:cubicBezTo>
                        <a:cubicBezTo>
                          <a:pt x="254" y="64"/>
                          <a:pt x="256" y="61"/>
                          <a:pt x="254" y="59"/>
                        </a:cubicBezTo>
                        <a:cubicBezTo>
                          <a:pt x="253" y="58"/>
                          <a:pt x="251" y="59"/>
                          <a:pt x="250" y="57"/>
                        </a:cubicBezTo>
                        <a:cubicBezTo>
                          <a:pt x="248" y="54"/>
                          <a:pt x="255" y="50"/>
                          <a:pt x="256" y="48"/>
                        </a:cubicBezTo>
                        <a:cubicBezTo>
                          <a:pt x="257" y="44"/>
                          <a:pt x="253" y="39"/>
                          <a:pt x="250" y="43"/>
                        </a:cubicBezTo>
                        <a:cubicBezTo>
                          <a:pt x="247" y="46"/>
                          <a:pt x="245" y="44"/>
                          <a:pt x="246" y="40"/>
                        </a:cubicBezTo>
                        <a:cubicBezTo>
                          <a:pt x="243" y="41"/>
                          <a:pt x="241" y="37"/>
                          <a:pt x="241" y="34"/>
                        </a:cubicBezTo>
                        <a:cubicBezTo>
                          <a:pt x="242" y="30"/>
                          <a:pt x="245" y="30"/>
                          <a:pt x="248" y="28"/>
                        </a:cubicBezTo>
                        <a:cubicBezTo>
                          <a:pt x="247" y="27"/>
                          <a:pt x="245" y="28"/>
                          <a:pt x="244" y="27"/>
                        </a:cubicBezTo>
                        <a:cubicBezTo>
                          <a:pt x="243" y="26"/>
                          <a:pt x="244" y="24"/>
                          <a:pt x="244" y="22"/>
                        </a:cubicBezTo>
                        <a:cubicBezTo>
                          <a:pt x="242" y="21"/>
                          <a:pt x="239" y="20"/>
                          <a:pt x="238" y="22"/>
                        </a:cubicBezTo>
                        <a:cubicBezTo>
                          <a:pt x="237" y="24"/>
                          <a:pt x="237" y="29"/>
                          <a:pt x="234" y="28"/>
                        </a:cubicBezTo>
                        <a:cubicBezTo>
                          <a:pt x="233" y="24"/>
                          <a:pt x="227" y="26"/>
                          <a:pt x="224" y="26"/>
                        </a:cubicBezTo>
                        <a:cubicBezTo>
                          <a:pt x="224" y="24"/>
                          <a:pt x="224" y="23"/>
                          <a:pt x="224" y="21"/>
                        </a:cubicBezTo>
                        <a:cubicBezTo>
                          <a:pt x="221" y="21"/>
                          <a:pt x="219" y="16"/>
                          <a:pt x="217" y="17"/>
                        </a:cubicBezTo>
                        <a:cubicBezTo>
                          <a:pt x="216" y="19"/>
                          <a:pt x="215" y="20"/>
                          <a:pt x="213" y="21"/>
                        </a:cubicBezTo>
                        <a:cubicBezTo>
                          <a:pt x="213" y="18"/>
                          <a:pt x="213" y="17"/>
                          <a:pt x="211" y="16"/>
                        </a:cubicBezTo>
                        <a:cubicBezTo>
                          <a:pt x="209" y="14"/>
                          <a:pt x="209" y="13"/>
                          <a:pt x="208" y="11"/>
                        </a:cubicBezTo>
                        <a:cubicBezTo>
                          <a:pt x="207" y="9"/>
                          <a:pt x="203" y="11"/>
                          <a:pt x="201" y="10"/>
                        </a:cubicBezTo>
                        <a:cubicBezTo>
                          <a:pt x="199" y="9"/>
                          <a:pt x="199" y="7"/>
                          <a:pt x="199" y="5"/>
                        </a:cubicBezTo>
                        <a:cubicBezTo>
                          <a:pt x="197" y="5"/>
                          <a:pt x="193" y="7"/>
                          <a:pt x="192" y="9"/>
                        </a:cubicBezTo>
                        <a:cubicBezTo>
                          <a:pt x="191" y="9"/>
                          <a:pt x="190" y="8"/>
                          <a:pt x="190" y="7"/>
                        </a:cubicBezTo>
                        <a:cubicBezTo>
                          <a:pt x="189" y="7"/>
                          <a:pt x="188" y="9"/>
                          <a:pt x="188" y="11"/>
                        </a:cubicBezTo>
                        <a:cubicBezTo>
                          <a:pt x="186" y="11"/>
                          <a:pt x="185" y="9"/>
                          <a:pt x="184" y="8"/>
                        </a:cubicBezTo>
                        <a:cubicBezTo>
                          <a:pt x="184" y="5"/>
                          <a:pt x="181" y="5"/>
                          <a:pt x="179" y="6"/>
                        </a:cubicBezTo>
                        <a:cubicBezTo>
                          <a:pt x="177" y="6"/>
                          <a:pt x="175" y="5"/>
                          <a:pt x="173" y="4"/>
                        </a:cubicBezTo>
                        <a:cubicBezTo>
                          <a:pt x="170" y="3"/>
                          <a:pt x="167" y="4"/>
                          <a:pt x="164" y="4"/>
                        </a:cubicBezTo>
                        <a:cubicBezTo>
                          <a:pt x="164" y="5"/>
                          <a:pt x="164" y="6"/>
                          <a:pt x="164" y="7"/>
                        </a:cubicBezTo>
                        <a:cubicBezTo>
                          <a:pt x="162" y="7"/>
                          <a:pt x="160" y="7"/>
                          <a:pt x="160" y="5"/>
                        </a:cubicBezTo>
                        <a:cubicBezTo>
                          <a:pt x="159" y="4"/>
                          <a:pt x="160" y="2"/>
                          <a:pt x="159" y="1"/>
                        </a:cubicBezTo>
                        <a:cubicBezTo>
                          <a:pt x="158" y="0"/>
                          <a:pt x="154" y="1"/>
                          <a:pt x="151" y="2"/>
                        </a:cubicBezTo>
                        <a:cubicBezTo>
                          <a:pt x="151" y="2"/>
                          <a:pt x="151" y="3"/>
                          <a:pt x="151" y="3"/>
                        </a:cubicBezTo>
                        <a:cubicBezTo>
                          <a:pt x="149" y="3"/>
                          <a:pt x="146" y="4"/>
                          <a:pt x="146" y="6"/>
                        </a:cubicBezTo>
                        <a:cubicBezTo>
                          <a:pt x="146" y="6"/>
                          <a:pt x="146" y="7"/>
                          <a:pt x="147" y="7"/>
                        </a:cubicBezTo>
                        <a:cubicBezTo>
                          <a:pt x="147" y="9"/>
                          <a:pt x="145" y="12"/>
                          <a:pt x="146" y="14"/>
                        </a:cubicBezTo>
                        <a:cubicBezTo>
                          <a:pt x="148" y="14"/>
                          <a:pt x="150" y="14"/>
                          <a:pt x="152" y="14"/>
                        </a:cubicBezTo>
                        <a:cubicBezTo>
                          <a:pt x="152" y="15"/>
                          <a:pt x="152" y="15"/>
                          <a:pt x="152" y="15"/>
                        </a:cubicBezTo>
                        <a:cubicBezTo>
                          <a:pt x="152" y="16"/>
                          <a:pt x="152" y="16"/>
                          <a:pt x="151" y="16"/>
                        </a:cubicBezTo>
                        <a:cubicBezTo>
                          <a:pt x="150" y="16"/>
                          <a:pt x="148" y="18"/>
                          <a:pt x="146" y="19"/>
                        </a:cubicBezTo>
                        <a:cubicBezTo>
                          <a:pt x="146" y="18"/>
                          <a:pt x="144" y="18"/>
                          <a:pt x="143" y="18"/>
                        </a:cubicBezTo>
                        <a:cubicBezTo>
                          <a:pt x="142" y="19"/>
                          <a:pt x="142" y="19"/>
                          <a:pt x="142" y="19"/>
                        </a:cubicBezTo>
                        <a:cubicBezTo>
                          <a:pt x="140" y="19"/>
                          <a:pt x="139" y="21"/>
                          <a:pt x="139" y="23"/>
                        </a:cubicBezTo>
                        <a:cubicBezTo>
                          <a:pt x="135" y="23"/>
                          <a:pt x="131" y="23"/>
                          <a:pt x="128" y="22"/>
                        </a:cubicBezTo>
                        <a:cubicBezTo>
                          <a:pt x="124" y="21"/>
                          <a:pt x="127" y="16"/>
                          <a:pt x="126" y="13"/>
                        </a:cubicBezTo>
                        <a:cubicBezTo>
                          <a:pt x="124" y="13"/>
                          <a:pt x="121" y="13"/>
                          <a:pt x="118" y="13"/>
                        </a:cubicBezTo>
                        <a:cubicBezTo>
                          <a:pt x="117" y="13"/>
                          <a:pt x="115" y="13"/>
                          <a:pt x="114" y="13"/>
                        </a:cubicBezTo>
                        <a:cubicBezTo>
                          <a:pt x="113" y="14"/>
                          <a:pt x="112" y="15"/>
                          <a:pt x="110" y="15"/>
                        </a:cubicBezTo>
                        <a:cubicBezTo>
                          <a:pt x="109" y="16"/>
                          <a:pt x="108" y="16"/>
                          <a:pt x="107" y="16"/>
                        </a:cubicBezTo>
                        <a:cubicBezTo>
                          <a:pt x="104" y="16"/>
                          <a:pt x="104" y="16"/>
                          <a:pt x="103" y="17"/>
                        </a:cubicBezTo>
                        <a:cubicBezTo>
                          <a:pt x="101" y="19"/>
                          <a:pt x="99" y="20"/>
                          <a:pt x="98" y="21"/>
                        </a:cubicBezTo>
                        <a:cubicBezTo>
                          <a:pt x="97" y="23"/>
                          <a:pt x="91" y="22"/>
                          <a:pt x="89" y="22"/>
                        </a:cubicBezTo>
                        <a:cubicBezTo>
                          <a:pt x="85" y="22"/>
                          <a:pt x="83" y="21"/>
                          <a:pt x="81" y="18"/>
                        </a:cubicBezTo>
                        <a:cubicBezTo>
                          <a:pt x="80" y="17"/>
                          <a:pt x="79" y="14"/>
                          <a:pt x="78" y="14"/>
                        </a:cubicBezTo>
                        <a:cubicBezTo>
                          <a:pt x="77" y="13"/>
                          <a:pt x="74" y="14"/>
                          <a:pt x="73" y="14"/>
                        </a:cubicBezTo>
                        <a:cubicBezTo>
                          <a:pt x="72" y="14"/>
                          <a:pt x="70" y="13"/>
                          <a:pt x="69" y="13"/>
                        </a:cubicBezTo>
                        <a:cubicBezTo>
                          <a:pt x="67" y="13"/>
                          <a:pt x="67" y="12"/>
                          <a:pt x="66" y="15"/>
                        </a:cubicBezTo>
                        <a:cubicBezTo>
                          <a:pt x="65" y="15"/>
                          <a:pt x="64" y="14"/>
                          <a:pt x="63" y="13"/>
                        </a:cubicBezTo>
                        <a:cubicBezTo>
                          <a:pt x="62" y="13"/>
                          <a:pt x="62" y="13"/>
                          <a:pt x="60" y="13"/>
                        </a:cubicBezTo>
                        <a:cubicBezTo>
                          <a:pt x="59" y="14"/>
                          <a:pt x="57" y="15"/>
                          <a:pt x="54" y="14"/>
                        </a:cubicBezTo>
                        <a:cubicBezTo>
                          <a:pt x="53" y="13"/>
                          <a:pt x="52" y="12"/>
                          <a:pt x="52" y="12"/>
                        </a:cubicBezTo>
                        <a:cubicBezTo>
                          <a:pt x="51" y="12"/>
                          <a:pt x="50" y="13"/>
                          <a:pt x="49" y="13"/>
                        </a:cubicBezTo>
                        <a:cubicBezTo>
                          <a:pt x="46" y="14"/>
                          <a:pt x="46" y="12"/>
                          <a:pt x="45" y="10"/>
                        </a:cubicBezTo>
                        <a:cubicBezTo>
                          <a:pt x="44" y="9"/>
                          <a:pt x="42" y="13"/>
                          <a:pt x="42" y="14"/>
                        </a:cubicBezTo>
                        <a:cubicBezTo>
                          <a:pt x="39" y="14"/>
                          <a:pt x="40" y="10"/>
                          <a:pt x="39" y="9"/>
                        </a:cubicBezTo>
                        <a:cubicBezTo>
                          <a:pt x="38" y="5"/>
                          <a:pt x="37" y="10"/>
                          <a:pt x="37" y="12"/>
                        </a:cubicBezTo>
                        <a:cubicBezTo>
                          <a:pt x="37" y="15"/>
                          <a:pt x="37" y="17"/>
                          <a:pt x="36" y="19"/>
                        </a:cubicBezTo>
                        <a:cubicBezTo>
                          <a:pt x="35" y="21"/>
                          <a:pt x="35" y="24"/>
                          <a:pt x="34" y="25"/>
                        </a:cubicBezTo>
                        <a:cubicBezTo>
                          <a:pt x="29" y="26"/>
                          <a:pt x="24" y="25"/>
                          <a:pt x="19" y="25"/>
                        </a:cubicBezTo>
                        <a:cubicBezTo>
                          <a:pt x="18" y="25"/>
                          <a:pt x="17" y="25"/>
                          <a:pt x="16" y="25"/>
                        </a:cubicBezTo>
                        <a:cubicBezTo>
                          <a:pt x="15" y="25"/>
                          <a:pt x="14" y="24"/>
                          <a:pt x="13" y="24"/>
                        </a:cubicBezTo>
                        <a:cubicBezTo>
                          <a:pt x="12" y="24"/>
                          <a:pt x="12" y="25"/>
                          <a:pt x="11" y="26"/>
                        </a:cubicBezTo>
                        <a:cubicBezTo>
                          <a:pt x="10" y="26"/>
                          <a:pt x="9" y="26"/>
                          <a:pt x="8" y="26"/>
                        </a:cubicBezTo>
                        <a:cubicBezTo>
                          <a:pt x="8" y="27"/>
                          <a:pt x="7" y="27"/>
                          <a:pt x="6" y="28"/>
                        </a:cubicBezTo>
                        <a:cubicBezTo>
                          <a:pt x="6" y="30"/>
                          <a:pt x="7" y="31"/>
                          <a:pt x="5" y="32"/>
                        </a:cubicBezTo>
                        <a:cubicBezTo>
                          <a:pt x="5" y="33"/>
                          <a:pt x="4" y="35"/>
                          <a:pt x="3" y="37"/>
                        </a:cubicBezTo>
                        <a:cubicBezTo>
                          <a:pt x="3" y="37"/>
                          <a:pt x="3" y="37"/>
                          <a:pt x="2" y="37"/>
                        </a:cubicBezTo>
                        <a:cubicBezTo>
                          <a:pt x="2" y="38"/>
                          <a:pt x="2" y="38"/>
                          <a:pt x="2" y="38"/>
                        </a:cubicBezTo>
                        <a:cubicBezTo>
                          <a:pt x="2" y="40"/>
                          <a:pt x="0" y="40"/>
                          <a:pt x="2" y="41"/>
                        </a:cubicBezTo>
                        <a:cubicBezTo>
                          <a:pt x="3" y="42"/>
                          <a:pt x="7" y="43"/>
                          <a:pt x="9" y="43"/>
                        </a:cubicBezTo>
                        <a:cubicBezTo>
                          <a:pt x="13" y="43"/>
                          <a:pt x="12" y="39"/>
                          <a:pt x="14" y="37"/>
                        </a:cubicBezTo>
                        <a:cubicBezTo>
                          <a:pt x="16" y="35"/>
                          <a:pt x="19" y="36"/>
                          <a:pt x="22" y="36"/>
                        </a:cubicBezTo>
                        <a:cubicBezTo>
                          <a:pt x="23" y="35"/>
                          <a:pt x="25" y="34"/>
                          <a:pt x="26" y="34"/>
                        </a:cubicBezTo>
                        <a:cubicBezTo>
                          <a:pt x="27" y="33"/>
                          <a:pt x="28" y="31"/>
                          <a:pt x="29" y="32"/>
                        </a:cubicBezTo>
                        <a:cubicBezTo>
                          <a:pt x="29" y="33"/>
                          <a:pt x="29" y="35"/>
                          <a:pt x="28" y="36"/>
                        </a:cubicBezTo>
                        <a:cubicBezTo>
                          <a:pt x="27" y="37"/>
                          <a:pt x="25" y="36"/>
                          <a:pt x="24" y="37"/>
                        </a:cubicBezTo>
                        <a:cubicBezTo>
                          <a:pt x="23" y="37"/>
                          <a:pt x="22" y="38"/>
                          <a:pt x="21" y="39"/>
                        </a:cubicBezTo>
                        <a:cubicBezTo>
                          <a:pt x="20" y="40"/>
                          <a:pt x="20" y="40"/>
                          <a:pt x="18" y="40"/>
                        </a:cubicBezTo>
                        <a:cubicBezTo>
                          <a:pt x="16" y="40"/>
                          <a:pt x="16" y="40"/>
                          <a:pt x="16" y="40"/>
                        </a:cubicBezTo>
                        <a:cubicBezTo>
                          <a:pt x="15" y="41"/>
                          <a:pt x="15" y="41"/>
                          <a:pt x="15" y="41"/>
                        </a:cubicBezTo>
                        <a:cubicBezTo>
                          <a:pt x="14" y="43"/>
                          <a:pt x="14" y="47"/>
                          <a:pt x="15" y="48"/>
                        </a:cubicBezTo>
                        <a:cubicBezTo>
                          <a:pt x="16" y="48"/>
                          <a:pt x="18" y="48"/>
                          <a:pt x="18" y="50"/>
                        </a:cubicBezTo>
                        <a:cubicBezTo>
                          <a:pt x="19" y="52"/>
                          <a:pt x="18" y="51"/>
                          <a:pt x="16" y="52"/>
                        </a:cubicBezTo>
                        <a:cubicBezTo>
                          <a:pt x="18" y="52"/>
                          <a:pt x="20" y="53"/>
                          <a:pt x="21" y="54"/>
                        </a:cubicBezTo>
                        <a:cubicBezTo>
                          <a:pt x="24" y="55"/>
                          <a:pt x="20" y="57"/>
                          <a:pt x="20" y="59"/>
                        </a:cubicBezTo>
                        <a:cubicBezTo>
                          <a:pt x="22" y="59"/>
                          <a:pt x="22" y="57"/>
                          <a:pt x="24" y="56"/>
                        </a:cubicBezTo>
                        <a:cubicBezTo>
                          <a:pt x="24" y="58"/>
                          <a:pt x="24" y="59"/>
                          <a:pt x="23" y="60"/>
                        </a:cubicBezTo>
                        <a:cubicBezTo>
                          <a:pt x="22" y="60"/>
                          <a:pt x="21" y="60"/>
                          <a:pt x="22" y="62"/>
                        </a:cubicBezTo>
                        <a:cubicBezTo>
                          <a:pt x="23" y="61"/>
                          <a:pt x="25" y="58"/>
                          <a:pt x="27" y="59"/>
                        </a:cubicBezTo>
                        <a:cubicBezTo>
                          <a:pt x="27" y="60"/>
                          <a:pt x="27" y="60"/>
                          <a:pt x="27" y="60"/>
                        </a:cubicBezTo>
                        <a:cubicBezTo>
                          <a:pt x="24" y="60"/>
                          <a:pt x="25" y="64"/>
                          <a:pt x="23" y="63"/>
                        </a:cubicBezTo>
                        <a:cubicBezTo>
                          <a:pt x="24" y="65"/>
                          <a:pt x="25" y="66"/>
                          <a:pt x="26" y="68"/>
                        </a:cubicBezTo>
                        <a:cubicBezTo>
                          <a:pt x="29" y="68"/>
                          <a:pt x="32" y="72"/>
                          <a:pt x="34" y="73"/>
                        </a:cubicBezTo>
                        <a:cubicBezTo>
                          <a:pt x="38" y="75"/>
                          <a:pt x="40" y="76"/>
                          <a:pt x="43" y="79"/>
                        </a:cubicBezTo>
                        <a:cubicBezTo>
                          <a:pt x="44" y="80"/>
                          <a:pt x="46" y="81"/>
                          <a:pt x="47" y="82"/>
                        </a:cubicBezTo>
                        <a:cubicBezTo>
                          <a:pt x="48" y="83"/>
                          <a:pt x="49" y="85"/>
                          <a:pt x="51" y="86"/>
                        </a:cubicBezTo>
                        <a:cubicBezTo>
                          <a:pt x="54" y="86"/>
                          <a:pt x="58" y="85"/>
                          <a:pt x="58" y="89"/>
                        </a:cubicBezTo>
                        <a:cubicBezTo>
                          <a:pt x="59" y="89"/>
                          <a:pt x="61" y="89"/>
                          <a:pt x="62" y="89"/>
                        </a:cubicBezTo>
                        <a:cubicBezTo>
                          <a:pt x="61" y="87"/>
                          <a:pt x="67" y="89"/>
                          <a:pt x="69" y="89"/>
                        </a:cubicBezTo>
                        <a:cubicBezTo>
                          <a:pt x="71" y="89"/>
                          <a:pt x="72" y="90"/>
                          <a:pt x="74" y="89"/>
                        </a:cubicBezTo>
                        <a:cubicBezTo>
                          <a:pt x="76" y="89"/>
                          <a:pt x="77" y="88"/>
                          <a:pt x="78" y="89"/>
                        </a:cubicBezTo>
                        <a:cubicBezTo>
                          <a:pt x="79" y="88"/>
                          <a:pt x="79" y="88"/>
                          <a:pt x="79" y="88"/>
                        </a:cubicBezTo>
                        <a:cubicBezTo>
                          <a:pt x="81" y="86"/>
                          <a:pt x="85" y="88"/>
                          <a:pt x="88" y="87"/>
                        </a:cubicBezTo>
                        <a:cubicBezTo>
                          <a:pt x="90" y="86"/>
                          <a:pt x="90" y="84"/>
                          <a:pt x="93" y="84"/>
                        </a:cubicBezTo>
                        <a:cubicBezTo>
                          <a:pt x="94" y="83"/>
                          <a:pt x="96" y="84"/>
                          <a:pt x="97" y="84"/>
                        </a:cubicBezTo>
                        <a:cubicBezTo>
                          <a:pt x="97" y="83"/>
                          <a:pt x="99" y="81"/>
                          <a:pt x="98" y="81"/>
                        </a:cubicBezTo>
                        <a:cubicBezTo>
                          <a:pt x="97" y="81"/>
                          <a:pt x="97" y="81"/>
                          <a:pt x="96" y="81"/>
                        </a:cubicBezTo>
                        <a:cubicBezTo>
                          <a:pt x="96" y="80"/>
                          <a:pt x="97" y="78"/>
                          <a:pt x="99" y="79"/>
                        </a:cubicBezTo>
                        <a:cubicBezTo>
                          <a:pt x="101" y="80"/>
                          <a:pt x="99" y="82"/>
                          <a:pt x="102" y="80"/>
                        </a:cubicBezTo>
                        <a:cubicBezTo>
                          <a:pt x="102" y="77"/>
                          <a:pt x="106" y="75"/>
                          <a:pt x="109" y="76"/>
                        </a:cubicBezTo>
                        <a:cubicBezTo>
                          <a:pt x="109" y="79"/>
                          <a:pt x="112" y="80"/>
                          <a:pt x="114" y="78"/>
                        </a:cubicBezTo>
                        <a:cubicBezTo>
                          <a:pt x="113" y="79"/>
                          <a:pt x="113" y="80"/>
                          <a:pt x="112" y="81"/>
                        </a:cubicBezTo>
                        <a:cubicBezTo>
                          <a:pt x="111" y="82"/>
                          <a:pt x="110" y="82"/>
                          <a:pt x="109" y="84"/>
                        </a:cubicBezTo>
                        <a:cubicBezTo>
                          <a:pt x="108" y="86"/>
                          <a:pt x="107" y="89"/>
                          <a:pt x="107" y="92"/>
                        </a:cubicBezTo>
                        <a:cubicBezTo>
                          <a:pt x="104" y="93"/>
                          <a:pt x="102" y="96"/>
                          <a:pt x="100" y="97"/>
                        </a:cubicBezTo>
                        <a:cubicBezTo>
                          <a:pt x="99" y="98"/>
                          <a:pt x="97" y="99"/>
                          <a:pt x="97" y="100"/>
                        </a:cubicBezTo>
                        <a:cubicBezTo>
                          <a:pt x="96" y="101"/>
                          <a:pt x="97" y="102"/>
                          <a:pt x="96" y="103"/>
                        </a:cubicBezTo>
                        <a:cubicBezTo>
                          <a:pt x="94" y="103"/>
                          <a:pt x="93" y="103"/>
                          <a:pt x="91" y="103"/>
                        </a:cubicBezTo>
                        <a:cubicBezTo>
                          <a:pt x="90" y="103"/>
                          <a:pt x="91" y="104"/>
                          <a:pt x="89" y="104"/>
                        </a:cubicBezTo>
                        <a:cubicBezTo>
                          <a:pt x="88" y="104"/>
                          <a:pt x="88" y="102"/>
                          <a:pt x="87" y="102"/>
                        </a:cubicBezTo>
                        <a:cubicBezTo>
                          <a:pt x="87" y="102"/>
                          <a:pt x="85" y="102"/>
                          <a:pt x="85" y="102"/>
                        </a:cubicBezTo>
                        <a:cubicBezTo>
                          <a:pt x="83" y="102"/>
                          <a:pt x="82" y="103"/>
                          <a:pt x="81" y="104"/>
                        </a:cubicBezTo>
                        <a:cubicBezTo>
                          <a:pt x="82" y="104"/>
                          <a:pt x="83" y="104"/>
                          <a:pt x="84" y="104"/>
                        </a:cubicBezTo>
                        <a:cubicBezTo>
                          <a:pt x="84" y="106"/>
                          <a:pt x="80" y="107"/>
                          <a:pt x="80" y="109"/>
                        </a:cubicBezTo>
                        <a:cubicBezTo>
                          <a:pt x="79" y="109"/>
                          <a:pt x="79" y="110"/>
                          <a:pt x="78" y="109"/>
                        </a:cubicBezTo>
                        <a:cubicBezTo>
                          <a:pt x="78" y="110"/>
                          <a:pt x="78" y="110"/>
                          <a:pt x="78" y="110"/>
                        </a:cubicBezTo>
                        <a:cubicBezTo>
                          <a:pt x="77" y="110"/>
                          <a:pt x="77" y="110"/>
                          <a:pt x="76" y="110"/>
                        </a:cubicBezTo>
                        <a:cubicBezTo>
                          <a:pt x="77" y="106"/>
                          <a:pt x="72" y="108"/>
                          <a:pt x="71" y="109"/>
                        </a:cubicBezTo>
                        <a:cubicBezTo>
                          <a:pt x="71" y="110"/>
                          <a:pt x="71" y="110"/>
                          <a:pt x="71" y="110"/>
                        </a:cubicBezTo>
                        <a:cubicBezTo>
                          <a:pt x="70" y="111"/>
                          <a:pt x="70" y="110"/>
                          <a:pt x="69" y="111"/>
                        </a:cubicBezTo>
                        <a:cubicBezTo>
                          <a:pt x="68" y="111"/>
                          <a:pt x="67" y="110"/>
                          <a:pt x="67" y="112"/>
                        </a:cubicBezTo>
                        <a:cubicBezTo>
                          <a:pt x="66" y="113"/>
                          <a:pt x="66" y="113"/>
                          <a:pt x="66" y="113"/>
                        </a:cubicBezTo>
                        <a:cubicBezTo>
                          <a:pt x="66" y="112"/>
                          <a:pt x="66" y="111"/>
                          <a:pt x="66" y="111"/>
                        </a:cubicBezTo>
                        <a:cubicBezTo>
                          <a:pt x="63" y="110"/>
                          <a:pt x="61" y="111"/>
                          <a:pt x="58" y="111"/>
                        </a:cubicBezTo>
                        <a:cubicBezTo>
                          <a:pt x="59" y="111"/>
                          <a:pt x="59" y="111"/>
                          <a:pt x="59" y="111"/>
                        </a:cubicBezTo>
                        <a:cubicBezTo>
                          <a:pt x="59" y="112"/>
                          <a:pt x="59" y="113"/>
                          <a:pt x="59" y="113"/>
                        </a:cubicBezTo>
                        <a:cubicBezTo>
                          <a:pt x="57" y="114"/>
                          <a:pt x="57" y="112"/>
                          <a:pt x="55" y="111"/>
                        </a:cubicBezTo>
                        <a:cubicBezTo>
                          <a:pt x="54" y="111"/>
                          <a:pt x="53" y="112"/>
                          <a:pt x="52" y="112"/>
                        </a:cubicBezTo>
                        <a:cubicBezTo>
                          <a:pt x="50" y="113"/>
                          <a:pt x="49" y="113"/>
                          <a:pt x="47" y="113"/>
                        </a:cubicBezTo>
                        <a:cubicBezTo>
                          <a:pt x="46" y="114"/>
                          <a:pt x="46" y="115"/>
                          <a:pt x="44" y="115"/>
                        </a:cubicBezTo>
                        <a:cubicBezTo>
                          <a:pt x="45" y="114"/>
                          <a:pt x="47" y="114"/>
                          <a:pt x="47" y="112"/>
                        </a:cubicBezTo>
                        <a:cubicBezTo>
                          <a:pt x="41" y="112"/>
                          <a:pt x="46" y="108"/>
                          <a:pt x="47" y="106"/>
                        </a:cubicBezTo>
                        <a:cubicBezTo>
                          <a:pt x="46" y="107"/>
                          <a:pt x="45" y="106"/>
                          <a:pt x="43" y="106"/>
                        </a:cubicBezTo>
                        <a:cubicBezTo>
                          <a:pt x="42" y="106"/>
                          <a:pt x="41" y="107"/>
                          <a:pt x="40" y="107"/>
                        </a:cubicBezTo>
                        <a:cubicBezTo>
                          <a:pt x="38" y="107"/>
                          <a:pt x="37" y="105"/>
                          <a:pt x="39" y="104"/>
                        </a:cubicBezTo>
                        <a:cubicBezTo>
                          <a:pt x="40" y="103"/>
                          <a:pt x="42" y="104"/>
                          <a:pt x="42" y="102"/>
                        </a:cubicBezTo>
                        <a:cubicBezTo>
                          <a:pt x="40" y="102"/>
                          <a:pt x="38" y="102"/>
                          <a:pt x="37" y="103"/>
                        </a:cubicBezTo>
                        <a:cubicBezTo>
                          <a:pt x="37" y="103"/>
                          <a:pt x="37" y="104"/>
                          <a:pt x="37" y="105"/>
                        </a:cubicBezTo>
                        <a:cubicBezTo>
                          <a:pt x="37" y="106"/>
                          <a:pt x="36" y="106"/>
                          <a:pt x="36" y="107"/>
                        </a:cubicBezTo>
                        <a:cubicBezTo>
                          <a:pt x="31" y="108"/>
                          <a:pt x="37" y="115"/>
                          <a:pt x="38" y="117"/>
                        </a:cubicBezTo>
                        <a:cubicBezTo>
                          <a:pt x="39" y="119"/>
                          <a:pt x="40" y="121"/>
                          <a:pt x="41" y="123"/>
                        </a:cubicBezTo>
                        <a:cubicBezTo>
                          <a:pt x="44" y="128"/>
                          <a:pt x="49" y="132"/>
                          <a:pt x="52" y="136"/>
                        </a:cubicBezTo>
                        <a:cubicBezTo>
                          <a:pt x="54" y="138"/>
                          <a:pt x="54" y="140"/>
                          <a:pt x="57" y="141"/>
                        </a:cubicBezTo>
                        <a:cubicBezTo>
                          <a:pt x="59" y="143"/>
                          <a:pt x="60" y="145"/>
                          <a:pt x="63" y="147"/>
                        </a:cubicBezTo>
                        <a:cubicBezTo>
                          <a:pt x="65" y="149"/>
                          <a:pt x="66" y="150"/>
                          <a:pt x="68" y="153"/>
                        </a:cubicBezTo>
                        <a:cubicBezTo>
                          <a:pt x="69" y="155"/>
                          <a:pt x="70" y="157"/>
                          <a:pt x="72" y="157"/>
                        </a:cubicBezTo>
                        <a:cubicBezTo>
                          <a:pt x="72" y="157"/>
                          <a:pt x="72" y="157"/>
                          <a:pt x="71" y="157"/>
                        </a:cubicBezTo>
                        <a:cubicBezTo>
                          <a:pt x="72" y="162"/>
                          <a:pt x="78" y="167"/>
                          <a:pt x="81" y="170"/>
                        </a:cubicBezTo>
                        <a:cubicBezTo>
                          <a:pt x="83" y="172"/>
                          <a:pt x="85" y="174"/>
                          <a:pt x="87" y="176"/>
                        </a:cubicBezTo>
                        <a:cubicBezTo>
                          <a:pt x="89" y="177"/>
                          <a:pt x="90" y="177"/>
                          <a:pt x="91" y="179"/>
                        </a:cubicBezTo>
                        <a:cubicBezTo>
                          <a:pt x="92" y="180"/>
                          <a:pt x="93" y="181"/>
                          <a:pt x="94" y="182"/>
                        </a:cubicBezTo>
                        <a:cubicBezTo>
                          <a:pt x="96" y="184"/>
                          <a:pt x="99" y="185"/>
                          <a:pt x="101" y="186"/>
                        </a:cubicBezTo>
                        <a:cubicBezTo>
                          <a:pt x="102" y="187"/>
                          <a:pt x="103" y="189"/>
                          <a:pt x="104" y="189"/>
                        </a:cubicBezTo>
                        <a:cubicBezTo>
                          <a:pt x="105" y="190"/>
                          <a:pt x="106" y="190"/>
                          <a:pt x="108" y="190"/>
                        </a:cubicBezTo>
                        <a:cubicBezTo>
                          <a:pt x="110" y="191"/>
                          <a:pt x="111" y="194"/>
                          <a:pt x="114" y="194"/>
                        </a:cubicBezTo>
                        <a:cubicBezTo>
                          <a:pt x="116" y="194"/>
                          <a:pt x="116" y="193"/>
                          <a:pt x="117" y="193"/>
                        </a:cubicBezTo>
                        <a:cubicBezTo>
                          <a:pt x="119" y="193"/>
                          <a:pt x="119" y="194"/>
                          <a:pt x="121" y="194"/>
                        </a:cubicBezTo>
                        <a:cubicBezTo>
                          <a:pt x="123" y="193"/>
                          <a:pt x="125" y="195"/>
                          <a:pt x="127" y="196"/>
                        </a:cubicBezTo>
                        <a:cubicBezTo>
                          <a:pt x="128" y="194"/>
                          <a:pt x="130" y="194"/>
                          <a:pt x="131" y="193"/>
                        </a:cubicBezTo>
                        <a:cubicBezTo>
                          <a:pt x="134" y="193"/>
                          <a:pt x="136" y="193"/>
                          <a:pt x="138" y="192"/>
                        </a:cubicBezTo>
                        <a:cubicBezTo>
                          <a:pt x="140" y="191"/>
                          <a:pt x="140" y="191"/>
                          <a:pt x="142" y="190"/>
                        </a:cubicBezTo>
                        <a:cubicBezTo>
                          <a:pt x="144" y="190"/>
                          <a:pt x="145" y="190"/>
                          <a:pt x="146" y="190"/>
                        </a:cubicBezTo>
                        <a:cubicBezTo>
                          <a:pt x="147" y="189"/>
                          <a:pt x="148" y="188"/>
                          <a:pt x="151" y="187"/>
                        </a:cubicBezTo>
                        <a:cubicBezTo>
                          <a:pt x="152" y="187"/>
                          <a:pt x="156" y="188"/>
                          <a:pt x="156" y="186"/>
                        </a:cubicBezTo>
                        <a:cubicBezTo>
                          <a:pt x="154" y="186"/>
                          <a:pt x="152" y="186"/>
                          <a:pt x="152" y="187"/>
                        </a:cubicBezTo>
                        <a:cubicBezTo>
                          <a:pt x="150" y="185"/>
                          <a:pt x="156" y="184"/>
                          <a:pt x="157" y="184"/>
                        </a:cubicBezTo>
                        <a:cubicBezTo>
                          <a:pt x="160" y="184"/>
                          <a:pt x="162" y="185"/>
                          <a:pt x="165" y="183"/>
                        </a:cubicBezTo>
                        <a:cubicBezTo>
                          <a:pt x="166" y="181"/>
                          <a:pt x="168" y="182"/>
                          <a:pt x="170" y="181"/>
                        </a:cubicBezTo>
                        <a:cubicBezTo>
                          <a:pt x="172" y="181"/>
                          <a:pt x="174" y="180"/>
                          <a:pt x="175" y="179"/>
                        </a:cubicBezTo>
                        <a:cubicBezTo>
                          <a:pt x="177" y="178"/>
                          <a:pt x="178" y="176"/>
                          <a:pt x="180" y="177"/>
                        </a:cubicBezTo>
                        <a:cubicBezTo>
                          <a:pt x="180" y="176"/>
                          <a:pt x="180" y="175"/>
                          <a:pt x="181" y="174"/>
                        </a:cubicBezTo>
                        <a:cubicBezTo>
                          <a:pt x="181" y="174"/>
                          <a:pt x="181" y="174"/>
                          <a:pt x="181" y="174"/>
                        </a:cubicBezTo>
                        <a:cubicBezTo>
                          <a:pt x="183" y="170"/>
                          <a:pt x="185" y="168"/>
                          <a:pt x="188" y="166"/>
                        </a:cubicBezTo>
                        <a:cubicBezTo>
                          <a:pt x="191" y="163"/>
                          <a:pt x="190" y="159"/>
                          <a:pt x="191" y="156"/>
                        </a:cubicBezTo>
                        <a:cubicBezTo>
                          <a:pt x="193" y="155"/>
                          <a:pt x="192" y="152"/>
                          <a:pt x="192" y="150"/>
                        </a:cubicBezTo>
                        <a:cubicBezTo>
                          <a:pt x="192" y="149"/>
                          <a:pt x="192" y="148"/>
                          <a:pt x="192" y="147"/>
                        </a:cubicBezTo>
                        <a:cubicBezTo>
                          <a:pt x="192" y="146"/>
                          <a:pt x="191" y="145"/>
                          <a:pt x="191" y="144"/>
                        </a:cubicBezTo>
                        <a:cubicBezTo>
                          <a:pt x="190" y="142"/>
                          <a:pt x="191" y="140"/>
                          <a:pt x="192" y="139"/>
                        </a:cubicBezTo>
                        <a:cubicBezTo>
                          <a:pt x="193" y="138"/>
                          <a:pt x="194" y="136"/>
                          <a:pt x="195" y="135"/>
                        </a:cubicBezTo>
                        <a:cubicBezTo>
                          <a:pt x="195" y="135"/>
                          <a:pt x="195" y="134"/>
                          <a:pt x="196" y="134"/>
                        </a:cubicBezTo>
                        <a:cubicBezTo>
                          <a:pt x="194" y="134"/>
                          <a:pt x="193" y="134"/>
                          <a:pt x="192" y="133"/>
                        </a:cubicBezTo>
                        <a:cubicBezTo>
                          <a:pt x="194" y="132"/>
                          <a:pt x="194" y="131"/>
                          <a:pt x="194" y="129"/>
                        </a:cubicBezTo>
                        <a:cubicBezTo>
                          <a:pt x="197" y="128"/>
                          <a:pt x="197" y="131"/>
                          <a:pt x="199" y="131"/>
                        </a:cubicBezTo>
                        <a:cubicBezTo>
                          <a:pt x="201" y="131"/>
                          <a:pt x="201" y="129"/>
                          <a:pt x="203" y="129"/>
                        </a:cubicBezTo>
                        <a:cubicBezTo>
                          <a:pt x="204" y="129"/>
                          <a:pt x="204" y="128"/>
                          <a:pt x="204" y="128"/>
                        </a:cubicBezTo>
                        <a:cubicBezTo>
                          <a:pt x="202" y="128"/>
                          <a:pt x="200" y="128"/>
                          <a:pt x="199" y="128"/>
                        </a:cubicBezTo>
                        <a:cubicBezTo>
                          <a:pt x="199" y="127"/>
                          <a:pt x="201" y="127"/>
                          <a:pt x="202" y="127"/>
                        </a:cubicBezTo>
                        <a:cubicBezTo>
                          <a:pt x="203" y="121"/>
                          <a:pt x="210" y="127"/>
                          <a:pt x="212" y="128"/>
                        </a:cubicBezTo>
                        <a:cubicBezTo>
                          <a:pt x="215" y="130"/>
                          <a:pt x="220" y="130"/>
                          <a:pt x="224" y="128"/>
                        </a:cubicBezTo>
                        <a:cubicBezTo>
                          <a:pt x="222" y="129"/>
                          <a:pt x="220" y="132"/>
                          <a:pt x="219" y="132"/>
                        </a:cubicBezTo>
                        <a:cubicBezTo>
                          <a:pt x="217" y="133"/>
                          <a:pt x="217" y="132"/>
                          <a:pt x="216" y="132"/>
                        </a:cubicBezTo>
                        <a:cubicBezTo>
                          <a:pt x="215" y="131"/>
                          <a:pt x="213" y="132"/>
                          <a:pt x="212" y="131"/>
                        </a:cubicBezTo>
                        <a:cubicBezTo>
                          <a:pt x="210" y="129"/>
                          <a:pt x="209" y="126"/>
                          <a:pt x="206" y="129"/>
                        </a:cubicBezTo>
                        <a:cubicBezTo>
                          <a:pt x="205" y="131"/>
                          <a:pt x="206" y="134"/>
                          <a:pt x="204" y="135"/>
                        </a:cubicBezTo>
                        <a:cubicBezTo>
                          <a:pt x="205" y="136"/>
                          <a:pt x="206" y="136"/>
                          <a:pt x="206" y="137"/>
                        </a:cubicBezTo>
                        <a:cubicBezTo>
                          <a:pt x="204" y="138"/>
                          <a:pt x="204" y="142"/>
                          <a:pt x="204" y="144"/>
                        </a:cubicBezTo>
                        <a:cubicBezTo>
                          <a:pt x="205" y="144"/>
                          <a:pt x="206" y="144"/>
                          <a:pt x="207" y="144"/>
                        </a:cubicBezTo>
                        <a:cubicBezTo>
                          <a:pt x="208" y="142"/>
                          <a:pt x="215" y="142"/>
                          <a:pt x="217" y="143"/>
                        </a:cubicBezTo>
                        <a:cubicBezTo>
                          <a:pt x="215" y="144"/>
                          <a:pt x="213" y="145"/>
                          <a:pt x="210" y="145"/>
                        </a:cubicBezTo>
                        <a:cubicBezTo>
                          <a:pt x="208" y="145"/>
                          <a:pt x="205" y="144"/>
                          <a:pt x="204" y="146"/>
                        </a:cubicBezTo>
                        <a:cubicBezTo>
                          <a:pt x="204" y="148"/>
                          <a:pt x="204" y="150"/>
                          <a:pt x="204" y="151"/>
                        </a:cubicBezTo>
                        <a:cubicBezTo>
                          <a:pt x="204" y="153"/>
                          <a:pt x="203" y="155"/>
                          <a:pt x="203" y="156"/>
                        </a:cubicBezTo>
                        <a:cubicBezTo>
                          <a:pt x="204" y="156"/>
                          <a:pt x="212" y="157"/>
                          <a:pt x="212" y="158"/>
                        </a:cubicBezTo>
                        <a:cubicBezTo>
                          <a:pt x="212" y="159"/>
                          <a:pt x="212" y="159"/>
                          <a:pt x="212" y="159"/>
                        </a:cubicBezTo>
                        <a:cubicBezTo>
                          <a:pt x="210" y="159"/>
                          <a:pt x="207" y="158"/>
                          <a:pt x="204" y="159"/>
                        </a:cubicBezTo>
                        <a:cubicBezTo>
                          <a:pt x="204" y="159"/>
                          <a:pt x="204" y="160"/>
                          <a:pt x="205" y="160"/>
                        </a:cubicBezTo>
                        <a:cubicBezTo>
                          <a:pt x="205" y="161"/>
                          <a:pt x="205" y="161"/>
                          <a:pt x="205" y="162"/>
                        </a:cubicBezTo>
                        <a:cubicBezTo>
                          <a:pt x="208" y="162"/>
                          <a:pt x="209" y="162"/>
                          <a:pt x="211" y="161"/>
                        </a:cubicBezTo>
                        <a:cubicBezTo>
                          <a:pt x="213" y="160"/>
                          <a:pt x="213" y="158"/>
                          <a:pt x="215" y="159"/>
                        </a:cubicBezTo>
                        <a:cubicBezTo>
                          <a:pt x="214" y="159"/>
                          <a:pt x="214" y="159"/>
                          <a:pt x="214" y="159"/>
                        </a:cubicBezTo>
                        <a:cubicBezTo>
                          <a:pt x="214" y="161"/>
                          <a:pt x="212" y="162"/>
                          <a:pt x="210" y="164"/>
                        </a:cubicBezTo>
                        <a:cubicBezTo>
                          <a:pt x="210" y="165"/>
                          <a:pt x="210" y="165"/>
                          <a:pt x="209" y="166"/>
                        </a:cubicBezTo>
                        <a:cubicBezTo>
                          <a:pt x="208" y="167"/>
                          <a:pt x="206" y="166"/>
                          <a:pt x="206" y="168"/>
                        </a:cubicBezTo>
                        <a:cubicBezTo>
                          <a:pt x="207" y="168"/>
                          <a:pt x="207" y="168"/>
                          <a:pt x="207" y="168"/>
                        </a:cubicBezTo>
                        <a:cubicBezTo>
                          <a:pt x="207" y="170"/>
                          <a:pt x="207" y="171"/>
                          <a:pt x="206" y="173"/>
                        </a:cubicBezTo>
                        <a:cubicBezTo>
                          <a:pt x="206" y="174"/>
                          <a:pt x="205" y="174"/>
                          <a:pt x="205" y="175"/>
                        </a:cubicBezTo>
                        <a:cubicBezTo>
                          <a:pt x="205" y="176"/>
                          <a:pt x="205" y="177"/>
                          <a:pt x="206" y="177"/>
                        </a:cubicBezTo>
                        <a:cubicBezTo>
                          <a:pt x="205" y="178"/>
                          <a:pt x="205" y="179"/>
                          <a:pt x="205" y="181"/>
                        </a:cubicBezTo>
                        <a:cubicBezTo>
                          <a:pt x="206" y="181"/>
                          <a:pt x="210" y="180"/>
                          <a:pt x="210" y="182"/>
                        </a:cubicBezTo>
                        <a:cubicBezTo>
                          <a:pt x="208" y="182"/>
                          <a:pt x="207" y="183"/>
                          <a:pt x="207" y="184"/>
                        </a:cubicBezTo>
                        <a:cubicBezTo>
                          <a:pt x="209" y="184"/>
                          <a:pt x="211" y="184"/>
                          <a:pt x="213" y="184"/>
                        </a:cubicBezTo>
                        <a:cubicBezTo>
                          <a:pt x="213" y="185"/>
                          <a:pt x="213" y="185"/>
                          <a:pt x="213" y="185"/>
                        </a:cubicBezTo>
                        <a:cubicBezTo>
                          <a:pt x="211" y="185"/>
                          <a:pt x="210" y="185"/>
                          <a:pt x="209" y="186"/>
                        </a:cubicBezTo>
                        <a:cubicBezTo>
                          <a:pt x="210" y="187"/>
                          <a:pt x="210" y="189"/>
                          <a:pt x="210" y="190"/>
                        </a:cubicBezTo>
                        <a:cubicBezTo>
                          <a:pt x="212" y="190"/>
                          <a:pt x="214" y="190"/>
                          <a:pt x="215" y="190"/>
                        </a:cubicBezTo>
                        <a:cubicBezTo>
                          <a:pt x="215" y="191"/>
                          <a:pt x="215" y="192"/>
                          <a:pt x="215" y="193"/>
                        </a:cubicBezTo>
                        <a:cubicBezTo>
                          <a:pt x="213" y="193"/>
                          <a:pt x="212" y="193"/>
                          <a:pt x="210" y="194"/>
                        </a:cubicBezTo>
                        <a:cubicBezTo>
                          <a:pt x="210" y="195"/>
                          <a:pt x="211" y="197"/>
                          <a:pt x="212" y="198"/>
                        </a:cubicBezTo>
                        <a:cubicBezTo>
                          <a:pt x="213" y="199"/>
                          <a:pt x="214" y="198"/>
                          <a:pt x="216" y="198"/>
                        </a:cubicBezTo>
                        <a:cubicBezTo>
                          <a:pt x="216" y="201"/>
                          <a:pt x="213" y="200"/>
                          <a:pt x="212" y="201"/>
                        </a:cubicBezTo>
                        <a:cubicBezTo>
                          <a:pt x="212" y="205"/>
                          <a:pt x="212" y="208"/>
                          <a:pt x="210" y="212"/>
                        </a:cubicBezTo>
                        <a:cubicBezTo>
                          <a:pt x="210" y="212"/>
                          <a:pt x="210" y="213"/>
                          <a:pt x="209" y="214"/>
                        </a:cubicBezTo>
                        <a:cubicBezTo>
                          <a:pt x="209" y="215"/>
                          <a:pt x="209" y="216"/>
                          <a:pt x="208" y="217"/>
                        </a:cubicBezTo>
                        <a:cubicBezTo>
                          <a:pt x="208" y="217"/>
                          <a:pt x="207" y="217"/>
                          <a:pt x="206" y="218"/>
                        </a:cubicBezTo>
                        <a:cubicBezTo>
                          <a:pt x="205" y="219"/>
                          <a:pt x="206" y="221"/>
                          <a:pt x="205" y="222"/>
                        </a:cubicBezTo>
                        <a:cubicBezTo>
                          <a:pt x="204" y="223"/>
                          <a:pt x="201" y="222"/>
                          <a:pt x="201" y="223"/>
                        </a:cubicBezTo>
                        <a:cubicBezTo>
                          <a:pt x="201" y="225"/>
                          <a:pt x="202" y="226"/>
                          <a:pt x="202" y="227"/>
                        </a:cubicBezTo>
                        <a:cubicBezTo>
                          <a:pt x="202" y="228"/>
                          <a:pt x="202" y="228"/>
                          <a:pt x="201" y="228"/>
                        </a:cubicBezTo>
                        <a:cubicBezTo>
                          <a:pt x="203" y="229"/>
                          <a:pt x="204" y="229"/>
                          <a:pt x="206" y="229"/>
                        </a:cubicBezTo>
                        <a:cubicBezTo>
                          <a:pt x="206" y="227"/>
                          <a:pt x="207" y="226"/>
                          <a:pt x="209" y="225"/>
                        </a:cubicBezTo>
                        <a:cubicBezTo>
                          <a:pt x="210" y="225"/>
                          <a:pt x="212" y="225"/>
                          <a:pt x="213" y="226"/>
                        </a:cubicBezTo>
                        <a:cubicBezTo>
                          <a:pt x="224" y="230"/>
                          <a:pt x="224" y="230"/>
                          <a:pt x="224" y="230"/>
                        </a:cubicBezTo>
                        <a:cubicBezTo>
                          <a:pt x="225" y="230"/>
                          <a:pt x="227" y="231"/>
                          <a:pt x="228" y="230"/>
                        </a:cubicBezTo>
                        <a:cubicBezTo>
                          <a:pt x="229" y="230"/>
                          <a:pt x="229" y="228"/>
                          <a:pt x="229" y="228"/>
                        </a:cubicBezTo>
                        <a:cubicBezTo>
                          <a:pt x="231" y="228"/>
                          <a:pt x="232" y="229"/>
                          <a:pt x="233" y="228"/>
                        </a:cubicBezTo>
                        <a:cubicBezTo>
                          <a:pt x="233" y="227"/>
                          <a:pt x="232" y="223"/>
                          <a:pt x="235" y="222"/>
                        </a:cubicBezTo>
                        <a:cubicBezTo>
                          <a:pt x="237" y="221"/>
                          <a:pt x="235" y="218"/>
                          <a:pt x="236" y="216"/>
                        </a:cubicBezTo>
                        <a:cubicBezTo>
                          <a:pt x="236" y="214"/>
                          <a:pt x="240" y="207"/>
                          <a:pt x="235" y="206"/>
                        </a:cubicBezTo>
                        <a:cubicBezTo>
                          <a:pt x="236" y="205"/>
                          <a:pt x="236" y="204"/>
                          <a:pt x="237" y="203"/>
                        </a:cubicBezTo>
                        <a:cubicBezTo>
                          <a:pt x="239" y="203"/>
                          <a:pt x="239" y="204"/>
                          <a:pt x="240" y="206"/>
                        </a:cubicBezTo>
                        <a:cubicBezTo>
                          <a:pt x="242" y="207"/>
                          <a:pt x="244" y="207"/>
                          <a:pt x="246" y="207"/>
                        </a:cubicBezTo>
                        <a:cubicBezTo>
                          <a:pt x="246" y="208"/>
                          <a:pt x="246" y="209"/>
                          <a:pt x="246" y="210"/>
                        </a:cubicBezTo>
                        <a:cubicBezTo>
                          <a:pt x="248" y="210"/>
                          <a:pt x="248" y="211"/>
                          <a:pt x="249" y="212"/>
                        </a:cubicBezTo>
                        <a:cubicBezTo>
                          <a:pt x="250" y="209"/>
                          <a:pt x="256" y="212"/>
                          <a:pt x="257" y="208"/>
                        </a:cubicBezTo>
                        <a:cubicBezTo>
                          <a:pt x="257" y="207"/>
                          <a:pt x="255" y="206"/>
                          <a:pt x="255" y="205"/>
                        </a:cubicBezTo>
                        <a:cubicBezTo>
                          <a:pt x="255" y="204"/>
                          <a:pt x="260" y="204"/>
                          <a:pt x="261" y="204"/>
                        </a:cubicBezTo>
                        <a:cubicBezTo>
                          <a:pt x="262" y="198"/>
                          <a:pt x="261" y="194"/>
                          <a:pt x="256" y="190"/>
                        </a:cubicBezTo>
                        <a:cubicBezTo>
                          <a:pt x="254" y="188"/>
                          <a:pt x="254" y="187"/>
                          <a:pt x="250" y="187"/>
                        </a:cubicBezTo>
                        <a:cubicBezTo>
                          <a:pt x="250" y="187"/>
                          <a:pt x="248" y="187"/>
                          <a:pt x="247" y="187"/>
                        </a:cubicBezTo>
                        <a:cubicBezTo>
                          <a:pt x="247" y="185"/>
                          <a:pt x="247" y="185"/>
                          <a:pt x="247" y="185"/>
                        </a:cubicBezTo>
                        <a:cubicBezTo>
                          <a:pt x="249" y="185"/>
                          <a:pt x="251" y="185"/>
                          <a:pt x="254" y="185"/>
                        </a:cubicBezTo>
                        <a:cubicBezTo>
                          <a:pt x="255" y="185"/>
                          <a:pt x="256" y="184"/>
                          <a:pt x="257" y="183"/>
                        </a:cubicBezTo>
                        <a:cubicBezTo>
                          <a:pt x="260" y="183"/>
                          <a:pt x="258" y="180"/>
                          <a:pt x="259" y="179"/>
                        </a:cubicBezTo>
                        <a:cubicBezTo>
                          <a:pt x="261" y="176"/>
                          <a:pt x="265" y="177"/>
                          <a:pt x="267" y="177"/>
                        </a:cubicBezTo>
                        <a:cubicBezTo>
                          <a:pt x="267" y="176"/>
                          <a:pt x="267" y="175"/>
                          <a:pt x="267" y="174"/>
                        </a:cubicBezTo>
                        <a:cubicBezTo>
                          <a:pt x="269" y="174"/>
                          <a:pt x="271" y="175"/>
                          <a:pt x="272" y="174"/>
                        </a:cubicBezTo>
                        <a:cubicBezTo>
                          <a:pt x="272" y="173"/>
                          <a:pt x="273" y="172"/>
                          <a:pt x="274" y="172"/>
                        </a:cubicBezTo>
                        <a:cubicBezTo>
                          <a:pt x="275" y="171"/>
                          <a:pt x="277" y="172"/>
                          <a:pt x="279" y="172"/>
                        </a:cubicBezTo>
                        <a:cubicBezTo>
                          <a:pt x="281" y="172"/>
                          <a:pt x="282" y="171"/>
                          <a:pt x="284" y="171"/>
                        </a:cubicBezTo>
                        <a:cubicBezTo>
                          <a:pt x="280" y="168"/>
                          <a:pt x="273" y="164"/>
                          <a:pt x="268" y="168"/>
                        </a:cubicBezTo>
                        <a:cubicBezTo>
                          <a:pt x="262" y="173"/>
                          <a:pt x="264" y="164"/>
                          <a:pt x="261" y="164"/>
                        </a:cubicBezTo>
                        <a:cubicBezTo>
                          <a:pt x="260" y="163"/>
                          <a:pt x="262" y="161"/>
                          <a:pt x="263" y="161"/>
                        </a:cubicBezTo>
                        <a:cubicBezTo>
                          <a:pt x="263" y="159"/>
                          <a:pt x="263" y="158"/>
                          <a:pt x="263" y="157"/>
                        </a:cubicBezTo>
                        <a:cubicBezTo>
                          <a:pt x="262" y="156"/>
                          <a:pt x="259" y="156"/>
                          <a:pt x="260" y="154"/>
                        </a:cubicBezTo>
                        <a:cubicBezTo>
                          <a:pt x="262" y="154"/>
                          <a:pt x="263" y="155"/>
                          <a:pt x="265" y="154"/>
                        </a:cubicBezTo>
                        <a:cubicBezTo>
                          <a:pt x="267" y="154"/>
                          <a:pt x="267" y="151"/>
                          <a:pt x="269" y="151"/>
                        </a:cubicBezTo>
                        <a:cubicBezTo>
                          <a:pt x="270" y="151"/>
                          <a:pt x="271" y="151"/>
                          <a:pt x="272" y="151"/>
                        </a:cubicBezTo>
                        <a:cubicBezTo>
                          <a:pt x="273" y="151"/>
                          <a:pt x="274" y="149"/>
                          <a:pt x="275" y="149"/>
                        </a:cubicBezTo>
                        <a:cubicBezTo>
                          <a:pt x="276" y="149"/>
                          <a:pt x="276" y="149"/>
                          <a:pt x="277" y="149"/>
                        </a:cubicBezTo>
                        <a:cubicBezTo>
                          <a:pt x="276" y="149"/>
                          <a:pt x="276" y="149"/>
                          <a:pt x="276" y="149"/>
                        </a:cubicBezTo>
                        <a:cubicBezTo>
                          <a:pt x="275" y="148"/>
                          <a:pt x="275" y="147"/>
                          <a:pt x="274" y="145"/>
                        </a:cubicBezTo>
                        <a:cubicBezTo>
                          <a:pt x="274" y="143"/>
                          <a:pt x="277" y="141"/>
                          <a:pt x="276" y="139"/>
                        </a:cubicBezTo>
                        <a:cubicBezTo>
                          <a:pt x="275" y="137"/>
                          <a:pt x="274" y="135"/>
                          <a:pt x="272" y="133"/>
                        </a:cubicBezTo>
                        <a:cubicBezTo>
                          <a:pt x="269" y="129"/>
                          <a:pt x="283" y="129"/>
                          <a:pt x="284" y="129"/>
                        </a:cubicBezTo>
                        <a:cubicBezTo>
                          <a:pt x="285" y="121"/>
                          <a:pt x="272" y="127"/>
                          <a:pt x="274" y="119"/>
                        </a:cubicBezTo>
                        <a:cubicBezTo>
                          <a:pt x="277" y="119"/>
                          <a:pt x="279" y="121"/>
                          <a:pt x="281" y="119"/>
                        </a:cubicBezTo>
                        <a:cubicBezTo>
                          <a:pt x="283" y="118"/>
                          <a:pt x="283" y="116"/>
                          <a:pt x="284" y="115"/>
                        </a:cubicBezTo>
                        <a:cubicBezTo>
                          <a:pt x="288" y="114"/>
                          <a:pt x="289" y="115"/>
                          <a:pt x="292" y="112"/>
                        </a:cubicBezTo>
                        <a:cubicBezTo>
                          <a:pt x="294" y="110"/>
                          <a:pt x="296" y="108"/>
                          <a:pt x="296" y="105"/>
                        </a:cubicBezTo>
                        <a:cubicBezTo>
                          <a:pt x="296" y="102"/>
                          <a:pt x="294" y="103"/>
                          <a:pt x="292" y="102"/>
                        </a:cubicBezTo>
                        <a:cubicBezTo>
                          <a:pt x="289" y="101"/>
                          <a:pt x="289" y="98"/>
                          <a:pt x="289" y="96"/>
                        </a:cubicBezTo>
                        <a:cubicBezTo>
                          <a:pt x="289" y="95"/>
                          <a:pt x="289" y="94"/>
                          <a:pt x="289" y="93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0" name="Freeform 282">
                    <a:extLst>
                      <a:ext uri="{FF2B5EF4-FFF2-40B4-BE49-F238E27FC236}">
                        <a16:creationId xmlns:a16="http://schemas.microsoft.com/office/drawing/2014/main" xmlns="" id="{0163D2FA-6020-4148-85D6-DA565C2023D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022976" y="2449513"/>
                    <a:ext cx="909638" cy="754063"/>
                  </a:xfrm>
                  <a:custGeom>
                    <a:avLst/>
                    <a:gdLst>
                      <a:gd name="T0" fmla="*/ 154 w 257"/>
                      <a:gd name="T1" fmla="*/ 192 h 213"/>
                      <a:gd name="T2" fmla="*/ 161 w 257"/>
                      <a:gd name="T3" fmla="*/ 181 h 213"/>
                      <a:gd name="T4" fmla="*/ 162 w 257"/>
                      <a:gd name="T5" fmla="*/ 161 h 213"/>
                      <a:gd name="T6" fmla="*/ 166 w 257"/>
                      <a:gd name="T7" fmla="*/ 142 h 213"/>
                      <a:gd name="T8" fmla="*/ 184 w 257"/>
                      <a:gd name="T9" fmla="*/ 129 h 213"/>
                      <a:gd name="T10" fmla="*/ 208 w 257"/>
                      <a:gd name="T11" fmla="*/ 107 h 213"/>
                      <a:gd name="T12" fmla="*/ 224 w 257"/>
                      <a:gd name="T13" fmla="*/ 100 h 213"/>
                      <a:gd name="T14" fmla="*/ 237 w 257"/>
                      <a:gd name="T15" fmla="*/ 103 h 213"/>
                      <a:gd name="T16" fmla="*/ 246 w 257"/>
                      <a:gd name="T17" fmla="*/ 104 h 213"/>
                      <a:gd name="T18" fmla="*/ 238 w 257"/>
                      <a:gd name="T19" fmla="*/ 96 h 213"/>
                      <a:gd name="T20" fmla="*/ 256 w 257"/>
                      <a:gd name="T21" fmla="*/ 72 h 213"/>
                      <a:gd name="T22" fmla="*/ 252 w 257"/>
                      <a:gd name="T23" fmla="*/ 56 h 213"/>
                      <a:gd name="T24" fmla="*/ 237 w 257"/>
                      <a:gd name="T25" fmla="*/ 52 h 213"/>
                      <a:gd name="T26" fmla="*/ 216 w 257"/>
                      <a:gd name="T27" fmla="*/ 48 h 213"/>
                      <a:gd name="T28" fmla="*/ 208 w 257"/>
                      <a:gd name="T29" fmla="*/ 48 h 213"/>
                      <a:gd name="T30" fmla="*/ 216 w 257"/>
                      <a:gd name="T31" fmla="*/ 33 h 213"/>
                      <a:gd name="T32" fmla="*/ 201 w 257"/>
                      <a:gd name="T33" fmla="*/ 25 h 213"/>
                      <a:gd name="T34" fmla="*/ 196 w 257"/>
                      <a:gd name="T35" fmla="*/ 19 h 213"/>
                      <a:gd name="T36" fmla="*/ 199 w 257"/>
                      <a:gd name="T37" fmla="*/ 10 h 213"/>
                      <a:gd name="T38" fmla="*/ 188 w 257"/>
                      <a:gd name="T39" fmla="*/ 3 h 213"/>
                      <a:gd name="T40" fmla="*/ 168 w 257"/>
                      <a:gd name="T41" fmla="*/ 16 h 213"/>
                      <a:gd name="T42" fmla="*/ 161 w 257"/>
                      <a:gd name="T43" fmla="*/ 25 h 213"/>
                      <a:gd name="T44" fmla="*/ 127 w 257"/>
                      <a:gd name="T45" fmla="*/ 14 h 213"/>
                      <a:gd name="T46" fmla="*/ 107 w 257"/>
                      <a:gd name="T47" fmla="*/ 34 h 213"/>
                      <a:gd name="T48" fmla="*/ 92 w 257"/>
                      <a:gd name="T49" fmla="*/ 46 h 213"/>
                      <a:gd name="T50" fmla="*/ 69 w 257"/>
                      <a:gd name="T51" fmla="*/ 52 h 213"/>
                      <a:gd name="T52" fmla="*/ 62 w 257"/>
                      <a:gd name="T53" fmla="*/ 69 h 213"/>
                      <a:gd name="T54" fmla="*/ 48 w 257"/>
                      <a:gd name="T55" fmla="*/ 79 h 213"/>
                      <a:gd name="T56" fmla="*/ 31 w 257"/>
                      <a:gd name="T57" fmla="*/ 93 h 213"/>
                      <a:gd name="T58" fmla="*/ 21 w 257"/>
                      <a:gd name="T59" fmla="*/ 97 h 213"/>
                      <a:gd name="T60" fmla="*/ 0 w 257"/>
                      <a:gd name="T61" fmla="*/ 104 h 213"/>
                      <a:gd name="T62" fmla="*/ 14 w 257"/>
                      <a:gd name="T63" fmla="*/ 114 h 213"/>
                      <a:gd name="T64" fmla="*/ 24 w 257"/>
                      <a:gd name="T65" fmla="*/ 121 h 213"/>
                      <a:gd name="T66" fmla="*/ 27 w 257"/>
                      <a:gd name="T67" fmla="*/ 140 h 213"/>
                      <a:gd name="T68" fmla="*/ 42 w 257"/>
                      <a:gd name="T69" fmla="*/ 136 h 213"/>
                      <a:gd name="T70" fmla="*/ 62 w 257"/>
                      <a:gd name="T71" fmla="*/ 133 h 213"/>
                      <a:gd name="T72" fmla="*/ 88 w 257"/>
                      <a:gd name="T73" fmla="*/ 132 h 213"/>
                      <a:gd name="T74" fmla="*/ 100 w 257"/>
                      <a:gd name="T75" fmla="*/ 126 h 213"/>
                      <a:gd name="T76" fmla="*/ 110 w 257"/>
                      <a:gd name="T77" fmla="*/ 113 h 213"/>
                      <a:gd name="T78" fmla="*/ 119 w 257"/>
                      <a:gd name="T79" fmla="*/ 105 h 213"/>
                      <a:gd name="T80" fmla="*/ 124 w 257"/>
                      <a:gd name="T81" fmla="*/ 100 h 213"/>
                      <a:gd name="T82" fmla="*/ 142 w 257"/>
                      <a:gd name="T83" fmla="*/ 93 h 213"/>
                      <a:gd name="T84" fmla="*/ 147 w 257"/>
                      <a:gd name="T85" fmla="*/ 90 h 213"/>
                      <a:gd name="T86" fmla="*/ 157 w 257"/>
                      <a:gd name="T87" fmla="*/ 85 h 213"/>
                      <a:gd name="T88" fmla="*/ 165 w 257"/>
                      <a:gd name="T89" fmla="*/ 82 h 213"/>
                      <a:gd name="T90" fmla="*/ 182 w 257"/>
                      <a:gd name="T91" fmla="*/ 76 h 213"/>
                      <a:gd name="T92" fmla="*/ 188 w 257"/>
                      <a:gd name="T93" fmla="*/ 82 h 213"/>
                      <a:gd name="T94" fmla="*/ 195 w 257"/>
                      <a:gd name="T95" fmla="*/ 101 h 213"/>
                      <a:gd name="T96" fmla="*/ 185 w 257"/>
                      <a:gd name="T97" fmla="*/ 111 h 213"/>
                      <a:gd name="T98" fmla="*/ 169 w 257"/>
                      <a:gd name="T99" fmla="*/ 120 h 213"/>
                      <a:gd name="T100" fmla="*/ 160 w 257"/>
                      <a:gd name="T101" fmla="*/ 126 h 213"/>
                      <a:gd name="T102" fmla="*/ 148 w 257"/>
                      <a:gd name="T103" fmla="*/ 135 h 213"/>
                      <a:gd name="T104" fmla="*/ 127 w 257"/>
                      <a:gd name="T105" fmla="*/ 153 h 213"/>
                      <a:gd name="T106" fmla="*/ 116 w 257"/>
                      <a:gd name="T107" fmla="*/ 160 h 213"/>
                      <a:gd name="T108" fmla="*/ 103 w 257"/>
                      <a:gd name="T109" fmla="*/ 182 h 213"/>
                      <a:gd name="T110" fmla="*/ 92 w 257"/>
                      <a:gd name="T111" fmla="*/ 192 h 213"/>
                      <a:gd name="T112" fmla="*/ 90 w 257"/>
                      <a:gd name="T113" fmla="*/ 205 h 213"/>
                      <a:gd name="T114" fmla="*/ 105 w 257"/>
                      <a:gd name="T115" fmla="*/ 205 h 213"/>
                      <a:gd name="T116" fmla="*/ 120 w 257"/>
                      <a:gd name="T117" fmla="*/ 199 h 213"/>
                      <a:gd name="T118" fmla="*/ 134 w 257"/>
                      <a:gd name="T119" fmla="*/ 197 h 213"/>
                      <a:gd name="T120" fmla="*/ 140 w 257"/>
                      <a:gd name="T121" fmla="*/ 198 h 2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257" h="213">
                        <a:moveTo>
                          <a:pt x="145" y="200"/>
                        </a:moveTo>
                        <a:cubicBezTo>
                          <a:pt x="146" y="198"/>
                          <a:pt x="146" y="197"/>
                          <a:pt x="146" y="198"/>
                        </a:cubicBezTo>
                        <a:cubicBezTo>
                          <a:pt x="147" y="197"/>
                          <a:pt x="148" y="197"/>
                          <a:pt x="150" y="197"/>
                        </a:cubicBezTo>
                        <a:cubicBezTo>
                          <a:pt x="151" y="196"/>
                          <a:pt x="150" y="196"/>
                          <a:pt x="151" y="195"/>
                        </a:cubicBezTo>
                        <a:cubicBezTo>
                          <a:pt x="151" y="193"/>
                          <a:pt x="153" y="193"/>
                          <a:pt x="154" y="192"/>
                        </a:cubicBezTo>
                        <a:cubicBezTo>
                          <a:pt x="154" y="192"/>
                          <a:pt x="154" y="192"/>
                          <a:pt x="155" y="191"/>
                        </a:cubicBezTo>
                        <a:cubicBezTo>
                          <a:pt x="155" y="191"/>
                          <a:pt x="155" y="190"/>
                          <a:pt x="155" y="190"/>
                        </a:cubicBezTo>
                        <a:cubicBezTo>
                          <a:pt x="156" y="189"/>
                          <a:pt x="156" y="188"/>
                          <a:pt x="156" y="187"/>
                        </a:cubicBezTo>
                        <a:cubicBezTo>
                          <a:pt x="157" y="186"/>
                          <a:pt x="157" y="185"/>
                          <a:pt x="158" y="185"/>
                        </a:cubicBezTo>
                        <a:cubicBezTo>
                          <a:pt x="159" y="183"/>
                          <a:pt x="161" y="183"/>
                          <a:pt x="161" y="181"/>
                        </a:cubicBezTo>
                        <a:cubicBezTo>
                          <a:pt x="161" y="178"/>
                          <a:pt x="159" y="177"/>
                          <a:pt x="160" y="175"/>
                        </a:cubicBezTo>
                        <a:cubicBezTo>
                          <a:pt x="161" y="173"/>
                          <a:pt x="162" y="173"/>
                          <a:pt x="163" y="171"/>
                        </a:cubicBezTo>
                        <a:cubicBezTo>
                          <a:pt x="165" y="170"/>
                          <a:pt x="165" y="168"/>
                          <a:pt x="165" y="166"/>
                        </a:cubicBezTo>
                        <a:cubicBezTo>
                          <a:pt x="162" y="166"/>
                          <a:pt x="163" y="164"/>
                          <a:pt x="163" y="163"/>
                        </a:cubicBezTo>
                        <a:cubicBezTo>
                          <a:pt x="163" y="162"/>
                          <a:pt x="163" y="161"/>
                          <a:pt x="162" y="161"/>
                        </a:cubicBezTo>
                        <a:cubicBezTo>
                          <a:pt x="162" y="160"/>
                          <a:pt x="162" y="160"/>
                          <a:pt x="162" y="159"/>
                        </a:cubicBezTo>
                        <a:cubicBezTo>
                          <a:pt x="161" y="157"/>
                          <a:pt x="160" y="156"/>
                          <a:pt x="160" y="155"/>
                        </a:cubicBezTo>
                        <a:cubicBezTo>
                          <a:pt x="160" y="151"/>
                          <a:pt x="160" y="150"/>
                          <a:pt x="162" y="148"/>
                        </a:cubicBezTo>
                        <a:cubicBezTo>
                          <a:pt x="162" y="147"/>
                          <a:pt x="163" y="146"/>
                          <a:pt x="163" y="145"/>
                        </a:cubicBezTo>
                        <a:cubicBezTo>
                          <a:pt x="164" y="144"/>
                          <a:pt x="165" y="143"/>
                          <a:pt x="166" y="142"/>
                        </a:cubicBezTo>
                        <a:cubicBezTo>
                          <a:pt x="167" y="141"/>
                          <a:pt x="168" y="140"/>
                          <a:pt x="170" y="139"/>
                        </a:cubicBezTo>
                        <a:cubicBezTo>
                          <a:pt x="171" y="139"/>
                          <a:pt x="173" y="139"/>
                          <a:pt x="174" y="139"/>
                        </a:cubicBezTo>
                        <a:cubicBezTo>
                          <a:pt x="174" y="136"/>
                          <a:pt x="177" y="135"/>
                          <a:pt x="178" y="132"/>
                        </a:cubicBezTo>
                        <a:cubicBezTo>
                          <a:pt x="179" y="131"/>
                          <a:pt x="180" y="130"/>
                          <a:pt x="182" y="129"/>
                        </a:cubicBezTo>
                        <a:cubicBezTo>
                          <a:pt x="183" y="129"/>
                          <a:pt x="183" y="129"/>
                          <a:pt x="184" y="129"/>
                        </a:cubicBezTo>
                        <a:cubicBezTo>
                          <a:pt x="185" y="128"/>
                          <a:pt x="185" y="128"/>
                          <a:pt x="186" y="128"/>
                        </a:cubicBezTo>
                        <a:cubicBezTo>
                          <a:pt x="189" y="126"/>
                          <a:pt x="189" y="121"/>
                          <a:pt x="193" y="121"/>
                        </a:cubicBezTo>
                        <a:cubicBezTo>
                          <a:pt x="196" y="121"/>
                          <a:pt x="196" y="120"/>
                          <a:pt x="197" y="118"/>
                        </a:cubicBezTo>
                        <a:cubicBezTo>
                          <a:pt x="198" y="115"/>
                          <a:pt x="202" y="110"/>
                          <a:pt x="205" y="109"/>
                        </a:cubicBezTo>
                        <a:cubicBezTo>
                          <a:pt x="206" y="108"/>
                          <a:pt x="207" y="108"/>
                          <a:pt x="208" y="107"/>
                        </a:cubicBezTo>
                        <a:cubicBezTo>
                          <a:pt x="209" y="107"/>
                          <a:pt x="211" y="106"/>
                          <a:pt x="212" y="106"/>
                        </a:cubicBezTo>
                        <a:cubicBezTo>
                          <a:pt x="213" y="106"/>
                          <a:pt x="214" y="106"/>
                          <a:pt x="215" y="106"/>
                        </a:cubicBezTo>
                        <a:cubicBezTo>
                          <a:pt x="215" y="106"/>
                          <a:pt x="216" y="105"/>
                          <a:pt x="217" y="105"/>
                        </a:cubicBezTo>
                        <a:cubicBezTo>
                          <a:pt x="219" y="104"/>
                          <a:pt x="221" y="104"/>
                          <a:pt x="222" y="104"/>
                        </a:cubicBezTo>
                        <a:cubicBezTo>
                          <a:pt x="224" y="103"/>
                          <a:pt x="223" y="101"/>
                          <a:pt x="224" y="100"/>
                        </a:cubicBezTo>
                        <a:cubicBezTo>
                          <a:pt x="225" y="101"/>
                          <a:pt x="226" y="102"/>
                          <a:pt x="227" y="102"/>
                        </a:cubicBezTo>
                        <a:cubicBezTo>
                          <a:pt x="228" y="102"/>
                          <a:pt x="227" y="101"/>
                          <a:pt x="229" y="101"/>
                        </a:cubicBezTo>
                        <a:cubicBezTo>
                          <a:pt x="230" y="100"/>
                          <a:pt x="232" y="100"/>
                          <a:pt x="233" y="101"/>
                        </a:cubicBezTo>
                        <a:cubicBezTo>
                          <a:pt x="234" y="101"/>
                          <a:pt x="234" y="102"/>
                          <a:pt x="234" y="102"/>
                        </a:cubicBezTo>
                        <a:cubicBezTo>
                          <a:pt x="235" y="103"/>
                          <a:pt x="236" y="103"/>
                          <a:pt x="237" y="103"/>
                        </a:cubicBezTo>
                        <a:cubicBezTo>
                          <a:pt x="238" y="105"/>
                          <a:pt x="237" y="106"/>
                          <a:pt x="237" y="108"/>
                        </a:cubicBezTo>
                        <a:cubicBezTo>
                          <a:pt x="240" y="108"/>
                          <a:pt x="242" y="109"/>
                          <a:pt x="244" y="110"/>
                        </a:cubicBezTo>
                        <a:cubicBezTo>
                          <a:pt x="245" y="111"/>
                          <a:pt x="247" y="112"/>
                          <a:pt x="248" y="112"/>
                        </a:cubicBezTo>
                        <a:cubicBezTo>
                          <a:pt x="249" y="111"/>
                          <a:pt x="249" y="110"/>
                          <a:pt x="250" y="110"/>
                        </a:cubicBezTo>
                        <a:cubicBezTo>
                          <a:pt x="250" y="108"/>
                          <a:pt x="247" y="105"/>
                          <a:pt x="246" y="104"/>
                        </a:cubicBezTo>
                        <a:cubicBezTo>
                          <a:pt x="246" y="103"/>
                          <a:pt x="245" y="103"/>
                          <a:pt x="244" y="102"/>
                        </a:cubicBezTo>
                        <a:cubicBezTo>
                          <a:pt x="244" y="101"/>
                          <a:pt x="242" y="100"/>
                          <a:pt x="242" y="100"/>
                        </a:cubicBezTo>
                        <a:cubicBezTo>
                          <a:pt x="242" y="99"/>
                          <a:pt x="241" y="99"/>
                          <a:pt x="241" y="98"/>
                        </a:cubicBezTo>
                        <a:cubicBezTo>
                          <a:pt x="240" y="98"/>
                          <a:pt x="240" y="97"/>
                          <a:pt x="240" y="96"/>
                        </a:cubicBezTo>
                        <a:cubicBezTo>
                          <a:pt x="239" y="96"/>
                          <a:pt x="238" y="96"/>
                          <a:pt x="238" y="96"/>
                        </a:cubicBezTo>
                        <a:cubicBezTo>
                          <a:pt x="237" y="94"/>
                          <a:pt x="234" y="85"/>
                          <a:pt x="238" y="85"/>
                        </a:cubicBezTo>
                        <a:cubicBezTo>
                          <a:pt x="239" y="84"/>
                          <a:pt x="240" y="82"/>
                          <a:pt x="241" y="82"/>
                        </a:cubicBezTo>
                        <a:cubicBezTo>
                          <a:pt x="242" y="80"/>
                          <a:pt x="248" y="77"/>
                          <a:pt x="247" y="74"/>
                        </a:cubicBezTo>
                        <a:cubicBezTo>
                          <a:pt x="249" y="73"/>
                          <a:pt x="249" y="72"/>
                          <a:pt x="251" y="72"/>
                        </a:cubicBezTo>
                        <a:cubicBezTo>
                          <a:pt x="253" y="72"/>
                          <a:pt x="254" y="72"/>
                          <a:pt x="256" y="72"/>
                        </a:cubicBezTo>
                        <a:cubicBezTo>
                          <a:pt x="256" y="70"/>
                          <a:pt x="256" y="68"/>
                          <a:pt x="256" y="66"/>
                        </a:cubicBezTo>
                        <a:cubicBezTo>
                          <a:pt x="257" y="66"/>
                          <a:pt x="257" y="66"/>
                          <a:pt x="257" y="66"/>
                        </a:cubicBezTo>
                        <a:cubicBezTo>
                          <a:pt x="257" y="64"/>
                          <a:pt x="255" y="64"/>
                          <a:pt x="254" y="63"/>
                        </a:cubicBezTo>
                        <a:cubicBezTo>
                          <a:pt x="254" y="62"/>
                          <a:pt x="254" y="60"/>
                          <a:pt x="254" y="59"/>
                        </a:cubicBezTo>
                        <a:cubicBezTo>
                          <a:pt x="254" y="57"/>
                          <a:pt x="254" y="57"/>
                          <a:pt x="252" y="56"/>
                        </a:cubicBezTo>
                        <a:cubicBezTo>
                          <a:pt x="251" y="55"/>
                          <a:pt x="250" y="55"/>
                          <a:pt x="250" y="53"/>
                        </a:cubicBezTo>
                        <a:cubicBezTo>
                          <a:pt x="249" y="53"/>
                          <a:pt x="249" y="53"/>
                          <a:pt x="248" y="52"/>
                        </a:cubicBezTo>
                        <a:cubicBezTo>
                          <a:pt x="247" y="52"/>
                          <a:pt x="247" y="50"/>
                          <a:pt x="246" y="50"/>
                        </a:cubicBezTo>
                        <a:cubicBezTo>
                          <a:pt x="245" y="49"/>
                          <a:pt x="242" y="50"/>
                          <a:pt x="241" y="50"/>
                        </a:cubicBezTo>
                        <a:cubicBezTo>
                          <a:pt x="239" y="50"/>
                          <a:pt x="238" y="52"/>
                          <a:pt x="237" y="52"/>
                        </a:cubicBezTo>
                        <a:cubicBezTo>
                          <a:pt x="236" y="52"/>
                          <a:pt x="235" y="50"/>
                          <a:pt x="234" y="50"/>
                        </a:cubicBezTo>
                        <a:cubicBezTo>
                          <a:pt x="233" y="50"/>
                          <a:pt x="233" y="50"/>
                          <a:pt x="232" y="50"/>
                        </a:cubicBezTo>
                        <a:cubicBezTo>
                          <a:pt x="230" y="51"/>
                          <a:pt x="229" y="51"/>
                          <a:pt x="227" y="50"/>
                        </a:cubicBezTo>
                        <a:cubicBezTo>
                          <a:pt x="225" y="49"/>
                          <a:pt x="223" y="47"/>
                          <a:pt x="221" y="47"/>
                        </a:cubicBezTo>
                        <a:cubicBezTo>
                          <a:pt x="220" y="47"/>
                          <a:pt x="217" y="48"/>
                          <a:pt x="216" y="48"/>
                        </a:cubicBezTo>
                        <a:cubicBezTo>
                          <a:pt x="215" y="49"/>
                          <a:pt x="213" y="50"/>
                          <a:pt x="212" y="51"/>
                        </a:cubicBezTo>
                        <a:cubicBezTo>
                          <a:pt x="211" y="52"/>
                          <a:pt x="212" y="53"/>
                          <a:pt x="211" y="54"/>
                        </a:cubicBezTo>
                        <a:cubicBezTo>
                          <a:pt x="210" y="54"/>
                          <a:pt x="209" y="54"/>
                          <a:pt x="208" y="53"/>
                        </a:cubicBezTo>
                        <a:cubicBezTo>
                          <a:pt x="207" y="53"/>
                          <a:pt x="206" y="53"/>
                          <a:pt x="205" y="53"/>
                        </a:cubicBezTo>
                        <a:cubicBezTo>
                          <a:pt x="204" y="50"/>
                          <a:pt x="208" y="50"/>
                          <a:pt x="208" y="48"/>
                        </a:cubicBezTo>
                        <a:cubicBezTo>
                          <a:pt x="206" y="48"/>
                          <a:pt x="207" y="44"/>
                          <a:pt x="208" y="43"/>
                        </a:cubicBezTo>
                        <a:cubicBezTo>
                          <a:pt x="209" y="43"/>
                          <a:pt x="210" y="42"/>
                          <a:pt x="211" y="41"/>
                        </a:cubicBezTo>
                        <a:cubicBezTo>
                          <a:pt x="212" y="40"/>
                          <a:pt x="211" y="41"/>
                          <a:pt x="211" y="39"/>
                        </a:cubicBezTo>
                        <a:cubicBezTo>
                          <a:pt x="211" y="36"/>
                          <a:pt x="215" y="36"/>
                          <a:pt x="216" y="34"/>
                        </a:cubicBezTo>
                        <a:cubicBezTo>
                          <a:pt x="216" y="34"/>
                          <a:pt x="216" y="33"/>
                          <a:pt x="216" y="33"/>
                        </a:cubicBezTo>
                        <a:cubicBezTo>
                          <a:pt x="217" y="32"/>
                          <a:pt x="218" y="33"/>
                          <a:pt x="218" y="32"/>
                        </a:cubicBezTo>
                        <a:cubicBezTo>
                          <a:pt x="218" y="31"/>
                          <a:pt x="214" y="29"/>
                          <a:pt x="213" y="28"/>
                        </a:cubicBezTo>
                        <a:cubicBezTo>
                          <a:pt x="212" y="27"/>
                          <a:pt x="211" y="25"/>
                          <a:pt x="210" y="24"/>
                        </a:cubicBezTo>
                        <a:cubicBezTo>
                          <a:pt x="210" y="22"/>
                          <a:pt x="210" y="21"/>
                          <a:pt x="210" y="20"/>
                        </a:cubicBezTo>
                        <a:cubicBezTo>
                          <a:pt x="206" y="19"/>
                          <a:pt x="201" y="21"/>
                          <a:pt x="201" y="25"/>
                        </a:cubicBezTo>
                        <a:cubicBezTo>
                          <a:pt x="201" y="27"/>
                          <a:pt x="201" y="28"/>
                          <a:pt x="200" y="28"/>
                        </a:cubicBezTo>
                        <a:cubicBezTo>
                          <a:pt x="199" y="29"/>
                          <a:pt x="198" y="28"/>
                          <a:pt x="198" y="27"/>
                        </a:cubicBezTo>
                        <a:cubicBezTo>
                          <a:pt x="197" y="26"/>
                          <a:pt x="199" y="24"/>
                          <a:pt x="198" y="22"/>
                        </a:cubicBezTo>
                        <a:cubicBezTo>
                          <a:pt x="197" y="22"/>
                          <a:pt x="195" y="22"/>
                          <a:pt x="194" y="22"/>
                        </a:cubicBezTo>
                        <a:cubicBezTo>
                          <a:pt x="194" y="20"/>
                          <a:pt x="195" y="20"/>
                          <a:pt x="196" y="19"/>
                        </a:cubicBezTo>
                        <a:cubicBezTo>
                          <a:pt x="196" y="19"/>
                          <a:pt x="197" y="19"/>
                          <a:pt x="197" y="19"/>
                        </a:cubicBezTo>
                        <a:cubicBezTo>
                          <a:pt x="197" y="18"/>
                          <a:pt x="200" y="14"/>
                          <a:pt x="201" y="14"/>
                        </a:cubicBezTo>
                        <a:cubicBezTo>
                          <a:pt x="202" y="13"/>
                          <a:pt x="203" y="14"/>
                          <a:pt x="204" y="13"/>
                        </a:cubicBezTo>
                        <a:cubicBezTo>
                          <a:pt x="204" y="12"/>
                          <a:pt x="203" y="11"/>
                          <a:pt x="203" y="10"/>
                        </a:cubicBezTo>
                        <a:cubicBezTo>
                          <a:pt x="202" y="10"/>
                          <a:pt x="201" y="10"/>
                          <a:pt x="199" y="10"/>
                        </a:cubicBezTo>
                        <a:cubicBezTo>
                          <a:pt x="197" y="11"/>
                          <a:pt x="196" y="9"/>
                          <a:pt x="195" y="7"/>
                        </a:cubicBezTo>
                        <a:cubicBezTo>
                          <a:pt x="195" y="6"/>
                          <a:pt x="195" y="7"/>
                          <a:pt x="194" y="6"/>
                        </a:cubicBezTo>
                        <a:cubicBezTo>
                          <a:pt x="194" y="5"/>
                          <a:pt x="192" y="5"/>
                          <a:pt x="192" y="4"/>
                        </a:cubicBezTo>
                        <a:cubicBezTo>
                          <a:pt x="191" y="3"/>
                          <a:pt x="191" y="1"/>
                          <a:pt x="189" y="0"/>
                        </a:cubicBezTo>
                        <a:cubicBezTo>
                          <a:pt x="189" y="2"/>
                          <a:pt x="189" y="2"/>
                          <a:pt x="188" y="3"/>
                        </a:cubicBezTo>
                        <a:cubicBezTo>
                          <a:pt x="187" y="3"/>
                          <a:pt x="187" y="4"/>
                          <a:pt x="187" y="4"/>
                        </a:cubicBezTo>
                        <a:cubicBezTo>
                          <a:pt x="186" y="5"/>
                          <a:pt x="185" y="5"/>
                          <a:pt x="185" y="5"/>
                        </a:cubicBezTo>
                        <a:cubicBezTo>
                          <a:pt x="182" y="7"/>
                          <a:pt x="180" y="8"/>
                          <a:pt x="178" y="9"/>
                        </a:cubicBezTo>
                        <a:cubicBezTo>
                          <a:pt x="175" y="10"/>
                          <a:pt x="173" y="12"/>
                          <a:pt x="171" y="13"/>
                        </a:cubicBezTo>
                        <a:cubicBezTo>
                          <a:pt x="170" y="14"/>
                          <a:pt x="168" y="15"/>
                          <a:pt x="168" y="16"/>
                        </a:cubicBezTo>
                        <a:cubicBezTo>
                          <a:pt x="168" y="16"/>
                          <a:pt x="169" y="17"/>
                          <a:pt x="169" y="18"/>
                        </a:cubicBezTo>
                        <a:cubicBezTo>
                          <a:pt x="169" y="18"/>
                          <a:pt x="169" y="19"/>
                          <a:pt x="169" y="19"/>
                        </a:cubicBezTo>
                        <a:cubicBezTo>
                          <a:pt x="168" y="19"/>
                          <a:pt x="167" y="19"/>
                          <a:pt x="166" y="19"/>
                        </a:cubicBezTo>
                        <a:cubicBezTo>
                          <a:pt x="167" y="20"/>
                          <a:pt x="167" y="23"/>
                          <a:pt x="166" y="24"/>
                        </a:cubicBezTo>
                        <a:cubicBezTo>
                          <a:pt x="165" y="25"/>
                          <a:pt x="163" y="25"/>
                          <a:pt x="161" y="25"/>
                        </a:cubicBezTo>
                        <a:cubicBezTo>
                          <a:pt x="159" y="25"/>
                          <a:pt x="157" y="24"/>
                          <a:pt x="155" y="22"/>
                        </a:cubicBezTo>
                        <a:cubicBezTo>
                          <a:pt x="153" y="21"/>
                          <a:pt x="151" y="21"/>
                          <a:pt x="149" y="21"/>
                        </a:cubicBezTo>
                        <a:cubicBezTo>
                          <a:pt x="147" y="20"/>
                          <a:pt x="145" y="21"/>
                          <a:pt x="143" y="21"/>
                        </a:cubicBezTo>
                        <a:cubicBezTo>
                          <a:pt x="140" y="21"/>
                          <a:pt x="139" y="21"/>
                          <a:pt x="136" y="19"/>
                        </a:cubicBezTo>
                        <a:cubicBezTo>
                          <a:pt x="134" y="17"/>
                          <a:pt x="130" y="14"/>
                          <a:pt x="127" y="14"/>
                        </a:cubicBezTo>
                        <a:cubicBezTo>
                          <a:pt x="127" y="17"/>
                          <a:pt x="127" y="18"/>
                          <a:pt x="124" y="19"/>
                        </a:cubicBezTo>
                        <a:cubicBezTo>
                          <a:pt x="122" y="20"/>
                          <a:pt x="120" y="20"/>
                          <a:pt x="118" y="20"/>
                        </a:cubicBezTo>
                        <a:cubicBezTo>
                          <a:pt x="115" y="21"/>
                          <a:pt x="115" y="23"/>
                          <a:pt x="113" y="25"/>
                        </a:cubicBezTo>
                        <a:cubicBezTo>
                          <a:pt x="111" y="26"/>
                          <a:pt x="110" y="27"/>
                          <a:pt x="109" y="29"/>
                        </a:cubicBezTo>
                        <a:cubicBezTo>
                          <a:pt x="109" y="30"/>
                          <a:pt x="108" y="34"/>
                          <a:pt x="107" y="34"/>
                        </a:cubicBezTo>
                        <a:cubicBezTo>
                          <a:pt x="106" y="34"/>
                          <a:pt x="103" y="33"/>
                          <a:pt x="103" y="34"/>
                        </a:cubicBezTo>
                        <a:cubicBezTo>
                          <a:pt x="102" y="35"/>
                          <a:pt x="104" y="36"/>
                          <a:pt x="104" y="37"/>
                        </a:cubicBezTo>
                        <a:cubicBezTo>
                          <a:pt x="104" y="38"/>
                          <a:pt x="99" y="40"/>
                          <a:pt x="98" y="40"/>
                        </a:cubicBezTo>
                        <a:cubicBezTo>
                          <a:pt x="99" y="42"/>
                          <a:pt x="96" y="43"/>
                          <a:pt x="94" y="44"/>
                        </a:cubicBezTo>
                        <a:cubicBezTo>
                          <a:pt x="93" y="45"/>
                          <a:pt x="93" y="45"/>
                          <a:pt x="92" y="46"/>
                        </a:cubicBezTo>
                        <a:cubicBezTo>
                          <a:pt x="91" y="47"/>
                          <a:pt x="90" y="48"/>
                          <a:pt x="89" y="48"/>
                        </a:cubicBezTo>
                        <a:cubicBezTo>
                          <a:pt x="88" y="49"/>
                          <a:pt x="86" y="48"/>
                          <a:pt x="84" y="48"/>
                        </a:cubicBezTo>
                        <a:cubicBezTo>
                          <a:pt x="83" y="49"/>
                          <a:pt x="83" y="49"/>
                          <a:pt x="82" y="49"/>
                        </a:cubicBezTo>
                        <a:cubicBezTo>
                          <a:pt x="80" y="50"/>
                          <a:pt x="77" y="51"/>
                          <a:pt x="75" y="52"/>
                        </a:cubicBezTo>
                        <a:cubicBezTo>
                          <a:pt x="73" y="53"/>
                          <a:pt x="71" y="52"/>
                          <a:pt x="69" y="52"/>
                        </a:cubicBezTo>
                        <a:cubicBezTo>
                          <a:pt x="67" y="53"/>
                          <a:pt x="68" y="55"/>
                          <a:pt x="68" y="57"/>
                        </a:cubicBezTo>
                        <a:cubicBezTo>
                          <a:pt x="68" y="59"/>
                          <a:pt x="68" y="61"/>
                          <a:pt x="67" y="63"/>
                        </a:cubicBezTo>
                        <a:cubicBezTo>
                          <a:pt x="66" y="63"/>
                          <a:pt x="66" y="64"/>
                          <a:pt x="65" y="65"/>
                        </a:cubicBezTo>
                        <a:cubicBezTo>
                          <a:pt x="65" y="66"/>
                          <a:pt x="64" y="66"/>
                          <a:pt x="63" y="66"/>
                        </a:cubicBezTo>
                        <a:cubicBezTo>
                          <a:pt x="63" y="67"/>
                          <a:pt x="63" y="68"/>
                          <a:pt x="62" y="69"/>
                        </a:cubicBezTo>
                        <a:cubicBezTo>
                          <a:pt x="61" y="69"/>
                          <a:pt x="60" y="69"/>
                          <a:pt x="59" y="70"/>
                        </a:cubicBezTo>
                        <a:cubicBezTo>
                          <a:pt x="58" y="71"/>
                          <a:pt x="58" y="72"/>
                          <a:pt x="57" y="72"/>
                        </a:cubicBezTo>
                        <a:cubicBezTo>
                          <a:pt x="56" y="73"/>
                          <a:pt x="56" y="73"/>
                          <a:pt x="55" y="74"/>
                        </a:cubicBezTo>
                        <a:cubicBezTo>
                          <a:pt x="53" y="74"/>
                          <a:pt x="50" y="75"/>
                          <a:pt x="49" y="76"/>
                        </a:cubicBezTo>
                        <a:cubicBezTo>
                          <a:pt x="49" y="77"/>
                          <a:pt x="49" y="78"/>
                          <a:pt x="48" y="79"/>
                        </a:cubicBezTo>
                        <a:cubicBezTo>
                          <a:pt x="47" y="80"/>
                          <a:pt x="46" y="80"/>
                          <a:pt x="46" y="82"/>
                        </a:cubicBezTo>
                        <a:cubicBezTo>
                          <a:pt x="47" y="82"/>
                          <a:pt x="49" y="83"/>
                          <a:pt x="49" y="84"/>
                        </a:cubicBezTo>
                        <a:cubicBezTo>
                          <a:pt x="52" y="88"/>
                          <a:pt x="40" y="89"/>
                          <a:pt x="41" y="93"/>
                        </a:cubicBezTo>
                        <a:cubicBezTo>
                          <a:pt x="39" y="94"/>
                          <a:pt x="36" y="92"/>
                          <a:pt x="35" y="93"/>
                        </a:cubicBezTo>
                        <a:cubicBezTo>
                          <a:pt x="32" y="95"/>
                          <a:pt x="32" y="96"/>
                          <a:pt x="31" y="93"/>
                        </a:cubicBezTo>
                        <a:cubicBezTo>
                          <a:pt x="30" y="93"/>
                          <a:pt x="29" y="93"/>
                          <a:pt x="28" y="93"/>
                        </a:cubicBezTo>
                        <a:cubicBezTo>
                          <a:pt x="29" y="93"/>
                          <a:pt x="29" y="93"/>
                          <a:pt x="29" y="93"/>
                        </a:cubicBezTo>
                        <a:cubicBezTo>
                          <a:pt x="29" y="94"/>
                          <a:pt x="29" y="94"/>
                          <a:pt x="29" y="95"/>
                        </a:cubicBezTo>
                        <a:cubicBezTo>
                          <a:pt x="26" y="95"/>
                          <a:pt x="25" y="95"/>
                          <a:pt x="23" y="96"/>
                        </a:cubicBezTo>
                        <a:cubicBezTo>
                          <a:pt x="22" y="96"/>
                          <a:pt x="21" y="96"/>
                          <a:pt x="21" y="97"/>
                        </a:cubicBezTo>
                        <a:cubicBezTo>
                          <a:pt x="20" y="98"/>
                          <a:pt x="20" y="99"/>
                          <a:pt x="19" y="100"/>
                        </a:cubicBezTo>
                        <a:cubicBezTo>
                          <a:pt x="18" y="100"/>
                          <a:pt x="17" y="100"/>
                          <a:pt x="16" y="100"/>
                        </a:cubicBezTo>
                        <a:cubicBezTo>
                          <a:pt x="14" y="99"/>
                          <a:pt x="12" y="99"/>
                          <a:pt x="10" y="99"/>
                        </a:cubicBezTo>
                        <a:cubicBezTo>
                          <a:pt x="7" y="99"/>
                          <a:pt x="5" y="98"/>
                          <a:pt x="3" y="98"/>
                        </a:cubicBezTo>
                        <a:cubicBezTo>
                          <a:pt x="2" y="100"/>
                          <a:pt x="3" y="104"/>
                          <a:pt x="0" y="104"/>
                        </a:cubicBezTo>
                        <a:cubicBezTo>
                          <a:pt x="1" y="105"/>
                          <a:pt x="2" y="106"/>
                          <a:pt x="2" y="107"/>
                        </a:cubicBezTo>
                        <a:cubicBezTo>
                          <a:pt x="2" y="108"/>
                          <a:pt x="2" y="110"/>
                          <a:pt x="3" y="110"/>
                        </a:cubicBezTo>
                        <a:cubicBezTo>
                          <a:pt x="4" y="112"/>
                          <a:pt x="5" y="112"/>
                          <a:pt x="7" y="113"/>
                        </a:cubicBezTo>
                        <a:cubicBezTo>
                          <a:pt x="9" y="114"/>
                          <a:pt x="8" y="114"/>
                          <a:pt x="9" y="116"/>
                        </a:cubicBezTo>
                        <a:cubicBezTo>
                          <a:pt x="10" y="114"/>
                          <a:pt x="11" y="114"/>
                          <a:pt x="14" y="114"/>
                        </a:cubicBezTo>
                        <a:cubicBezTo>
                          <a:pt x="16" y="114"/>
                          <a:pt x="17" y="113"/>
                          <a:pt x="18" y="113"/>
                        </a:cubicBezTo>
                        <a:cubicBezTo>
                          <a:pt x="20" y="112"/>
                          <a:pt x="20" y="113"/>
                          <a:pt x="21" y="114"/>
                        </a:cubicBezTo>
                        <a:cubicBezTo>
                          <a:pt x="22" y="116"/>
                          <a:pt x="23" y="117"/>
                          <a:pt x="24" y="118"/>
                        </a:cubicBezTo>
                        <a:cubicBezTo>
                          <a:pt x="25" y="118"/>
                          <a:pt x="26" y="119"/>
                          <a:pt x="26" y="120"/>
                        </a:cubicBezTo>
                        <a:cubicBezTo>
                          <a:pt x="25" y="121"/>
                          <a:pt x="24" y="121"/>
                          <a:pt x="24" y="121"/>
                        </a:cubicBezTo>
                        <a:cubicBezTo>
                          <a:pt x="23" y="122"/>
                          <a:pt x="24" y="123"/>
                          <a:pt x="24" y="124"/>
                        </a:cubicBezTo>
                        <a:cubicBezTo>
                          <a:pt x="23" y="124"/>
                          <a:pt x="22" y="124"/>
                          <a:pt x="21" y="125"/>
                        </a:cubicBezTo>
                        <a:cubicBezTo>
                          <a:pt x="21" y="126"/>
                          <a:pt x="21" y="128"/>
                          <a:pt x="21" y="129"/>
                        </a:cubicBezTo>
                        <a:cubicBezTo>
                          <a:pt x="21" y="130"/>
                          <a:pt x="24" y="132"/>
                          <a:pt x="26" y="133"/>
                        </a:cubicBezTo>
                        <a:cubicBezTo>
                          <a:pt x="26" y="135"/>
                          <a:pt x="28" y="137"/>
                          <a:pt x="27" y="140"/>
                        </a:cubicBezTo>
                        <a:cubicBezTo>
                          <a:pt x="27" y="140"/>
                          <a:pt x="28" y="139"/>
                          <a:pt x="29" y="139"/>
                        </a:cubicBezTo>
                        <a:cubicBezTo>
                          <a:pt x="30" y="139"/>
                          <a:pt x="31" y="139"/>
                          <a:pt x="33" y="138"/>
                        </a:cubicBezTo>
                        <a:cubicBezTo>
                          <a:pt x="33" y="138"/>
                          <a:pt x="34" y="138"/>
                          <a:pt x="35" y="138"/>
                        </a:cubicBezTo>
                        <a:cubicBezTo>
                          <a:pt x="36" y="138"/>
                          <a:pt x="37" y="137"/>
                          <a:pt x="38" y="137"/>
                        </a:cubicBezTo>
                        <a:cubicBezTo>
                          <a:pt x="39" y="136"/>
                          <a:pt x="41" y="136"/>
                          <a:pt x="42" y="136"/>
                        </a:cubicBezTo>
                        <a:cubicBezTo>
                          <a:pt x="44" y="136"/>
                          <a:pt x="45" y="135"/>
                          <a:pt x="47" y="134"/>
                        </a:cubicBezTo>
                        <a:cubicBezTo>
                          <a:pt x="48" y="134"/>
                          <a:pt x="48" y="133"/>
                          <a:pt x="49" y="133"/>
                        </a:cubicBezTo>
                        <a:cubicBezTo>
                          <a:pt x="50" y="133"/>
                          <a:pt x="50" y="133"/>
                          <a:pt x="51" y="133"/>
                        </a:cubicBezTo>
                        <a:cubicBezTo>
                          <a:pt x="52" y="132"/>
                          <a:pt x="52" y="131"/>
                          <a:pt x="54" y="131"/>
                        </a:cubicBezTo>
                        <a:cubicBezTo>
                          <a:pt x="57" y="131"/>
                          <a:pt x="59" y="132"/>
                          <a:pt x="62" y="133"/>
                        </a:cubicBezTo>
                        <a:cubicBezTo>
                          <a:pt x="63" y="133"/>
                          <a:pt x="65" y="133"/>
                          <a:pt x="66" y="134"/>
                        </a:cubicBezTo>
                        <a:cubicBezTo>
                          <a:pt x="68" y="135"/>
                          <a:pt x="70" y="135"/>
                          <a:pt x="72" y="135"/>
                        </a:cubicBezTo>
                        <a:cubicBezTo>
                          <a:pt x="73" y="135"/>
                          <a:pt x="75" y="135"/>
                          <a:pt x="76" y="134"/>
                        </a:cubicBezTo>
                        <a:cubicBezTo>
                          <a:pt x="79" y="132"/>
                          <a:pt x="81" y="132"/>
                          <a:pt x="84" y="132"/>
                        </a:cubicBezTo>
                        <a:cubicBezTo>
                          <a:pt x="85" y="132"/>
                          <a:pt x="87" y="132"/>
                          <a:pt x="88" y="132"/>
                        </a:cubicBezTo>
                        <a:cubicBezTo>
                          <a:pt x="88" y="132"/>
                          <a:pt x="89" y="131"/>
                          <a:pt x="90" y="131"/>
                        </a:cubicBezTo>
                        <a:cubicBezTo>
                          <a:pt x="90" y="131"/>
                          <a:pt x="91" y="131"/>
                          <a:pt x="91" y="131"/>
                        </a:cubicBezTo>
                        <a:cubicBezTo>
                          <a:pt x="93" y="131"/>
                          <a:pt x="94" y="131"/>
                          <a:pt x="95" y="131"/>
                        </a:cubicBezTo>
                        <a:cubicBezTo>
                          <a:pt x="97" y="131"/>
                          <a:pt x="98" y="130"/>
                          <a:pt x="99" y="129"/>
                        </a:cubicBezTo>
                        <a:cubicBezTo>
                          <a:pt x="99" y="128"/>
                          <a:pt x="100" y="127"/>
                          <a:pt x="100" y="126"/>
                        </a:cubicBezTo>
                        <a:cubicBezTo>
                          <a:pt x="101" y="125"/>
                          <a:pt x="102" y="125"/>
                          <a:pt x="103" y="125"/>
                        </a:cubicBezTo>
                        <a:cubicBezTo>
                          <a:pt x="104" y="124"/>
                          <a:pt x="103" y="123"/>
                          <a:pt x="103" y="122"/>
                        </a:cubicBezTo>
                        <a:cubicBezTo>
                          <a:pt x="103" y="121"/>
                          <a:pt x="104" y="120"/>
                          <a:pt x="104" y="119"/>
                        </a:cubicBezTo>
                        <a:cubicBezTo>
                          <a:pt x="106" y="117"/>
                          <a:pt x="107" y="116"/>
                          <a:pt x="108" y="114"/>
                        </a:cubicBezTo>
                        <a:cubicBezTo>
                          <a:pt x="109" y="114"/>
                          <a:pt x="109" y="114"/>
                          <a:pt x="110" y="113"/>
                        </a:cubicBezTo>
                        <a:cubicBezTo>
                          <a:pt x="110" y="113"/>
                          <a:pt x="110" y="113"/>
                          <a:pt x="111" y="112"/>
                        </a:cubicBezTo>
                        <a:cubicBezTo>
                          <a:pt x="112" y="111"/>
                          <a:pt x="113" y="111"/>
                          <a:pt x="113" y="110"/>
                        </a:cubicBezTo>
                        <a:cubicBezTo>
                          <a:pt x="114" y="109"/>
                          <a:pt x="115" y="109"/>
                          <a:pt x="116" y="108"/>
                        </a:cubicBezTo>
                        <a:cubicBezTo>
                          <a:pt x="116" y="107"/>
                          <a:pt x="117" y="106"/>
                          <a:pt x="118" y="106"/>
                        </a:cubicBezTo>
                        <a:cubicBezTo>
                          <a:pt x="118" y="105"/>
                          <a:pt x="118" y="105"/>
                          <a:pt x="119" y="105"/>
                        </a:cubicBezTo>
                        <a:cubicBezTo>
                          <a:pt x="119" y="104"/>
                          <a:pt x="119" y="101"/>
                          <a:pt x="118" y="100"/>
                        </a:cubicBezTo>
                        <a:cubicBezTo>
                          <a:pt x="117" y="99"/>
                          <a:pt x="117" y="100"/>
                          <a:pt x="116" y="99"/>
                        </a:cubicBezTo>
                        <a:cubicBezTo>
                          <a:pt x="116" y="98"/>
                          <a:pt x="117" y="98"/>
                          <a:pt x="117" y="98"/>
                        </a:cubicBezTo>
                        <a:cubicBezTo>
                          <a:pt x="118" y="97"/>
                          <a:pt x="120" y="98"/>
                          <a:pt x="121" y="98"/>
                        </a:cubicBezTo>
                        <a:cubicBezTo>
                          <a:pt x="122" y="99"/>
                          <a:pt x="123" y="100"/>
                          <a:pt x="124" y="100"/>
                        </a:cubicBezTo>
                        <a:cubicBezTo>
                          <a:pt x="126" y="100"/>
                          <a:pt x="126" y="99"/>
                          <a:pt x="128" y="99"/>
                        </a:cubicBezTo>
                        <a:cubicBezTo>
                          <a:pt x="129" y="99"/>
                          <a:pt x="131" y="99"/>
                          <a:pt x="131" y="98"/>
                        </a:cubicBezTo>
                        <a:cubicBezTo>
                          <a:pt x="132" y="97"/>
                          <a:pt x="133" y="98"/>
                          <a:pt x="135" y="97"/>
                        </a:cubicBezTo>
                        <a:cubicBezTo>
                          <a:pt x="136" y="96"/>
                          <a:pt x="137" y="95"/>
                          <a:pt x="139" y="95"/>
                        </a:cubicBezTo>
                        <a:cubicBezTo>
                          <a:pt x="140" y="94"/>
                          <a:pt x="141" y="94"/>
                          <a:pt x="142" y="93"/>
                        </a:cubicBezTo>
                        <a:cubicBezTo>
                          <a:pt x="142" y="92"/>
                          <a:pt x="143" y="92"/>
                          <a:pt x="144" y="91"/>
                        </a:cubicBezTo>
                        <a:cubicBezTo>
                          <a:pt x="145" y="91"/>
                          <a:pt x="145" y="91"/>
                          <a:pt x="145" y="91"/>
                        </a:cubicBezTo>
                        <a:cubicBezTo>
                          <a:pt x="145" y="91"/>
                          <a:pt x="145" y="91"/>
                          <a:pt x="146" y="91"/>
                        </a:cubicBezTo>
                        <a:cubicBezTo>
                          <a:pt x="146" y="91"/>
                          <a:pt x="146" y="91"/>
                          <a:pt x="146" y="91"/>
                        </a:cubicBezTo>
                        <a:cubicBezTo>
                          <a:pt x="147" y="90"/>
                          <a:pt x="147" y="90"/>
                          <a:pt x="147" y="90"/>
                        </a:cubicBezTo>
                        <a:cubicBezTo>
                          <a:pt x="148" y="90"/>
                          <a:pt x="149" y="90"/>
                          <a:pt x="149" y="89"/>
                        </a:cubicBezTo>
                        <a:cubicBezTo>
                          <a:pt x="150" y="89"/>
                          <a:pt x="150" y="89"/>
                          <a:pt x="151" y="88"/>
                        </a:cubicBezTo>
                        <a:cubicBezTo>
                          <a:pt x="152" y="88"/>
                          <a:pt x="152" y="88"/>
                          <a:pt x="152" y="87"/>
                        </a:cubicBezTo>
                        <a:cubicBezTo>
                          <a:pt x="153" y="87"/>
                          <a:pt x="154" y="87"/>
                          <a:pt x="156" y="86"/>
                        </a:cubicBezTo>
                        <a:cubicBezTo>
                          <a:pt x="156" y="86"/>
                          <a:pt x="157" y="86"/>
                          <a:pt x="157" y="85"/>
                        </a:cubicBezTo>
                        <a:cubicBezTo>
                          <a:pt x="158" y="85"/>
                          <a:pt x="159" y="85"/>
                          <a:pt x="159" y="85"/>
                        </a:cubicBezTo>
                        <a:cubicBezTo>
                          <a:pt x="160" y="85"/>
                          <a:pt x="160" y="85"/>
                          <a:pt x="161" y="84"/>
                        </a:cubicBezTo>
                        <a:cubicBezTo>
                          <a:pt x="161" y="84"/>
                          <a:pt x="162" y="83"/>
                          <a:pt x="162" y="83"/>
                        </a:cubicBezTo>
                        <a:cubicBezTo>
                          <a:pt x="163" y="83"/>
                          <a:pt x="164" y="83"/>
                          <a:pt x="164" y="83"/>
                        </a:cubicBezTo>
                        <a:cubicBezTo>
                          <a:pt x="165" y="82"/>
                          <a:pt x="164" y="82"/>
                          <a:pt x="165" y="82"/>
                        </a:cubicBezTo>
                        <a:cubicBezTo>
                          <a:pt x="166" y="81"/>
                          <a:pt x="168" y="81"/>
                          <a:pt x="169" y="81"/>
                        </a:cubicBezTo>
                        <a:cubicBezTo>
                          <a:pt x="170" y="81"/>
                          <a:pt x="171" y="81"/>
                          <a:pt x="172" y="80"/>
                        </a:cubicBezTo>
                        <a:cubicBezTo>
                          <a:pt x="174" y="79"/>
                          <a:pt x="174" y="79"/>
                          <a:pt x="176" y="79"/>
                        </a:cubicBezTo>
                        <a:cubicBezTo>
                          <a:pt x="177" y="78"/>
                          <a:pt x="177" y="78"/>
                          <a:pt x="179" y="77"/>
                        </a:cubicBezTo>
                        <a:cubicBezTo>
                          <a:pt x="180" y="76"/>
                          <a:pt x="181" y="76"/>
                          <a:pt x="182" y="76"/>
                        </a:cubicBezTo>
                        <a:cubicBezTo>
                          <a:pt x="184" y="76"/>
                          <a:pt x="185" y="75"/>
                          <a:pt x="186" y="75"/>
                        </a:cubicBezTo>
                        <a:cubicBezTo>
                          <a:pt x="188" y="75"/>
                          <a:pt x="192" y="74"/>
                          <a:pt x="193" y="76"/>
                        </a:cubicBezTo>
                        <a:cubicBezTo>
                          <a:pt x="194" y="77"/>
                          <a:pt x="192" y="78"/>
                          <a:pt x="192" y="79"/>
                        </a:cubicBezTo>
                        <a:cubicBezTo>
                          <a:pt x="191" y="80"/>
                          <a:pt x="191" y="80"/>
                          <a:pt x="190" y="81"/>
                        </a:cubicBezTo>
                        <a:cubicBezTo>
                          <a:pt x="189" y="81"/>
                          <a:pt x="188" y="81"/>
                          <a:pt x="188" y="82"/>
                        </a:cubicBezTo>
                        <a:cubicBezTo>
                          <a:pt x="187" y="83"/>
                          <a:pt x="187" y="85"/>
                          <a:pt x="187" y="87"/>
                        </a:cubicBezTo>
                        <a:cubicBezTo>
                          <a:pt x="187" y="90"/>
                          <a:pt x="187" y="93"/>
                          <a:pt x="191" y="94"/>
                        </a:cubicBezTo>
                        <a:cubicBezTo>
                          <a:pt x="191" y="96"/>
                          <a:pt x="191" y="97"/>
                          <a:pt x="191" y="98"/>
                        </a:cubicBezTo>
                        <a:cubicBezTo>
                          <a:pt x="192" y="99"/>
                          <a:pt x="192" y="100"/>
                          <a:pt x="193" y="102"/>
                        </a:cubicBezTo>
                        <a:cubicBezTo>
                          <a:pt x="193" y="102"/>
                          <a:pt x="194" y="102"/>
                          <a:pt x="195" y="101"/>
                        </a:cubicBezTo>
                        <a:cubicBezTo>
                          <a:pt x="196" y="101"/>
                          <a:pt x="196" y="100"/>
                          <a:pt x="197" y="100"/>
                        </a:cubicBezTo>
                        <a:cubicBezTo>
                          <a:pt x="199" y="99"/>
                          <a:pt x="198" y="102"/>
                          <a:pt x="198" y="104"/>
                        </a:cubicBezTo>
                        <a:cubicBezTo>
                          <a:pt x="197" y="107"/>
                          <a:pt x="194" y="109"/>
                          <a:pt x="191" y="108"/>
                        </a:cubicBezTo>
                        <a:cubicBezTo>
                          <a:pt x="191" y="109"/>
                          <a:pt x="189" y="109"/>
                          <a:pt x="188" y="110"/>
                        </a:cubicBezTo>
                        <a:cubicBezTo>
                          <a:pt x="187" y="110"/>
                          <a:pt x="186" y="110"/>
                          <a:pt x="185" y="111"/>
                        </a:cubicBezTo>
                        <a:cubicBezTo>
                          <a:pt x="184" y="111"/>
                          <a:pt x="179" y="111"/>
                          <a:pt x="178" y="110"/>
                        </a:cubicBezTo>
                        <a:cubicBezTo>
                          <a:pt x="176" y="110"/>
                          <a:pt x="176" y="110"/>
                          <a:pt x="175" y="112"/>
                        </a:cubicBezTo>
                        <a:cubicBezTo>
                          <a:pt x="175" y="113"/>
                          <a:pt x="175" y="115"/>
                          <a:pt x="175" y="116"/>
                        </a:cubicBezTo>
                        <a:cubicBezTo>
                          <a:pt x="175" y="116"/>
                          <a:pt x="172" y="117"/>
                          <a:pt x="172" y="117"/>
                        </a:cubicBezTo>
                        <a:cubicBezTo>
                          <a:pt x="171" y="118"/>
                          <a:pt x="169" y="120"/>
                          <a:pt x="169" y="120"/>
                        </a:cubicBezTo>
                        <a:cubicBezTo>
                          <a:pt x="169" y="120"/>
                          <a:pt x="169" y="120"/>
                          <a:pt x="169" y="120"/>
                        </a:cubicBezTo>
                        <a:cubicBezTo>
                          <a:pt x="169" y="121"/>
                          <a:pt x="168" y="121"/>
                          <a:pt x="167" y="122"/>
                        </a:cubicBezTo>
                        <a:cubicBezTo>
                          <a:pt x="166" y="122"/>
                          <a:pt x="165" y="121"/>
                          <a:pt x="164" y="122"/>
                        </a:cubicBezTo>
                        <a:cubicBezTo>
                          <a:pt x="163" y="122"/>
                          <a:pt x="163" y="123"/>
                          <a:pt x="162" y="123"/>
                        </a:cubicBezTo>
                        <a:cubicBezTo>
                          <a:pt x="162" y="124"/>
                          <a:pt x="160" y="125"/>
                          <a:pt x="160" y="126"/>
                        </a:cubicBezTo>
                        <a:cubicBezTo>
                          <a:pt x="159" y="126"/>
                          <a:pt x="158" y="127"/>
                          <a:pt x="158" y="127"/>
                        </a:cubicBezTo>
                        <a:cubicBezTo>
                          <a:pt x="157" y="128"/>
                          <a:pt x="156" y="127"/>
                          <a:pt x="155" y="128"/>
                        </a:cubicBezTo>
                        <a:cubicBezTo>
                          <a:pt x="154" y="128"/>
                          <a:pt x="152" y="128"/>
                          <a:pt x="151" y="129"/>
                        </a:cubicBezTo>
                        <a:cubicBezTo>
                          <a:pt x="150" y="129"/>
                          <a:pt x="151" y="131"/>
                          <a:pt x="150" y="132"/>
                        </a:cubicBezTo>
                        <a:cubicBezTo>
                          <a:pt x="149" y="132"/>
                          <a:pt x="148" y="134"/>
                          <a:pt x="148" y="135"/>
                        </a:cubicBezTo>
                        <a:cubicBezTo>
                          <a:pt x="147" y="136"/>
                          <a:pt x="145" y="137"/>
                          <a:pt x="144" y="137"/>
                        </a:cubicBezTo>
                        <a:cubicBezTo>
                          <a:pt x="140" y="140"/>
                          <a:pt x="134" y="141"/>
                          <a:pt x="132" y="146"/>
                        </a:cubicBezTo>
                        <a:cubicBezTo>
                          <a:pt x="131" y="147"/>
                          <a:pt x="131" y="148"/>
                          <a:pt x="131" y="149"/>
                        </a:cubicBezTo>
                        <a:cubicBezTo>
                          <a:pt x="131" y="151"/>
                          <a:pt x="129" y="151"/>
                          <a:pt x="128" y="152"/>
                        </a:cubicBezTo>
                        <a:cubicBezTo>
                          <a:pt x="128" y="153"/>
                          <a:pt x="128" y="153"/>
                          <a:pt x="127" y="153"/>
                        </a:cubicBezTo>
                        <a:cubicBezTo>
                          <a:pt x="126" y="154"/>
                          <a:pt x="126" y="153"/>
                          <a:pt x="125" y="153"/>
                        </a:cubicBezTo>
                        <a:cubicBezTo>
                          <a:pt x="125" y="152"/>
                          <a:pt x="126" y="150"/>
                          <a:pt x="125" y="149"/>
                        </a:cubicBezTo>
                        <a:cubicBezTo>
                          <a:pt x="125" y="149"/>
                          <a:pt x="123" y="149"/>
                          <a:pt x="123" y="150"/>
                        </a:cubicBezTo>
                        <a:cubicBezTo>
                          <a:pt x="121" y="152"/>
                          <a:pt x="122" y="155"/>
                          <a:pt x="120" y="158"/>
                        </a:cubicBezTo>
                        <a:cubicBezTo>
                          <a:pt x="119" y="159"/>
                          <a:pt x="118" y="159"/>
                          <a:pt x="116" y="160"/>
                        </a:cubicBezTo>
                        <a:cubicBezTo>
                          <a:pt x="116" y="161"/>
                          <a:pt x="112" y="168"/>
                          <a:pt x="112" y="168"/>
                        </a:cubicBezTo>
                        <a:cubicBezTo>
                          <a:pt x="113" y="170"/>
                          <a:pt x="115" y="170"/>
                          <a:pt x="113" y="172"/>
                        </a:cubicBezTo>
                        <a:cubicBezTo>
                          <a:pt x="111" y="174"/>
                          <a:pt x="111" y="174"/>
                          <a:pt x="111" y="176"/>
                        </a:cubicBezTo>
                        <a:cubicBezTo>
                          <a:pt x="112" y="180"/>
                          <a:pt x="111" y="183"/>
                          <a:pt x="107" y="183"/>
                        </a:cubicBezTo>
                        <a:cubicBezTo>
                          <a:pt x="105" y="184"/>
                          <a:pt x="104" y="184"/>
                          <a:pt x="103" y="182"/>
                        </a:cubicBezTo>
                        <a:cubicBezTo>
                          <a:pt x="103" y="181"/>
                          <a:pt x="102" y="179"/>
                          <a:pt x="103" y="178"/>
                        </a:cubicBezTo>
                        <a:cubicBezTo>
                          <a:pt x="102" y="179"/>
                          <a:pt x="100" y="179"/>
                          <a:pt x="98" y="180"/>
                        </a:cubicBezTo>
                        <a:cubicBezTo>
                          <a:pt x="98" y="181"/>
                          <a:pt x="98" y="182"/>
                          <a:pt x="99" y="183"/>
                        </a:cubicBezTo>
                        <a:cubicBezTo>
                          <a:pt x="98" y="186"/>
                          <a:pt x="94" y="186"/>
                          <a:pt x="92" y="188"/>
                        </a:cubicBezTo>
                        <a:cubicBezTo>
                          <a:pt x="91" y="189"/>
                          <a:pt x="92" y="190"/>
                          <a:pt x="92" y="192"/>
                        </a:cubicBezTo>
                        <a:cubicBezTo>
                          <a:pt x="91" y="193"/>
                          <a:pt x="90" y="193"/>
                          <a:pt x="90" y="195"/>
                        </a:cubicBezTo>
                        <a:cubicBezTo>
                          <a:pt x="88" y="195"/>
                          <a:pt x="85" y="196"/>
                          <a:pt x="84" y="197"/>
                        </a:cubicBezTo>
                        <a:cubicBezTo>
                          <a:pt x="84" y="199"/>
                          <a:pt x="84" y="198"/>
                          <a:pt x="85" y="199"/>
                        </a:cubicBezTo>
                        <a:cubicBezTo>
                          <a:pt x="86" y="201"/>
                          <a:pt x="86" y="201"/>
                          <a:pt x="86" y="201"/>
                        </a:cubicBezTo>
                        <a:cubicBezTo>
                          <a:pt x="89" y="203"/>
                          <a:pt x="90" y="201"/>
                          <a:pt x="90" y="205"/>
                        </a:cubicBezTo>
                        <a:cubicBezTo>
                          <a:pt x="90" y="206"/>
                          <a:pt x="90" y="208"/>
                          <a:pt x="91" y="210"/>
                        </a:cubicBezTo>
                        <a:cubicBezTo>
                          <a:pt x="92" y="210"/>
                          <a:pt x="93" y="210"/>
                          <a:pt x="94" y="211"/>
                        </a:cubicBezTo>
                        <a:cubicBezTo>
                          <a:pt x="96" y="212"/>
                          <a:pt x="97" y="213"/>
                          <a:pt x="99" y="213"/>
                        </a:cubicBezTo>
                        <a:cubicBezTo>
                          <a:pt x="100" y="211"/>
                          <a:pt x="100" y="209"/>
                          <a:pt x="102" y="207"/>
                        </a:cubicBezTo>
                        <a:cubicBezTo>
                          <a:pt x="103" y="206"/>
                          <a:pt x="104" y="206"/>
                          <a:pt x="105" y="205"/>
                        </a:cubicBezTo>
                        <a:cubicBezTo>
                          <a:pt x="106" y="203"/>
                          <a:pt x="105" y="201"/>
                          <a:pt x="103" y="201"/>
                        </a:cubicBezTo>
                        <a:cubicBezTo>
                          <a:pt x="104" y="199"/>
                          <a:pt x="106" y="199"/>
                          <a:pt x="108" y="199"/>
                        </a:cubicBezTo>
                        <a:cubicBezTo>
                          <a:pt x="110" y="198"/>
                          <a:pt x="111" y="198"/>
                          <a:pt x="113" y="198"/>
                        </a:cubicBezTo>
                        <a:cubicBezTo>
                          <a:pt x="114" y="198"/>
                          <a:pt x="116" y="198"/>
                          <a:pt x="117" y="198"/>
                        </a:cubicBezTo>
                        <a:cubicBezTo>
                          <a:pt x="118" y="199"/>
                          <a:pt x="119" y="199"/>
                          <a:pt x="120" y="199"/>
                        </a:cubicBezTo>
                        <a:cubicBezTo>
                          <a:pt x="120" y="199"/>
                          <a:pt x="121" y="198"/>
                          <a:pt x="121" y="198"/>
                        </a:cubicBezTo>
                        <a:cubicBezTo>
                          <a:pt x="123" y="198"/>
                          <a:pt x="122" y="199"/>
                          <a:pt x="123" y="199"/>
                        </a:cubicBezTo>
                        <a:cubicBezTo>
                          <a:pt x="124" y="199"/>
                          <a:pt x="124" y="199"/>
                          <a:pt x="125" y="198"/>
                        </a:cubicBezTo>
                        <a:cubicBezTo>
                          <a:pt x="127" y="198"/>
                          <a:pt x="128" y="197"/>
                          <a:pt x="130" y="197"/>
                        </a:cubicBezTo>
                        <a:cubicBezTo>
                          <a:pt x="131" y="197"/>
                          <a:pt x="133" y="198"/>
                          <a:pt x="134" y="197"/>
                        </a:cubicBezTo>
                        <a:cubicBezTo>
                          <a:pt x="134" y="196"/>
                          <a:pt x="134" y="195"/>
                          <a:pt x="134" y="195"/>
                        </a:cubicBezTo>
                        <a:cubicBezTo>
                          <a:pt x="135" y="194"/>
                          <a:pt x="135" y="194"/>
                          <a:pt x="135" y="193"/>
                        </a:cubicBezTo>
                        <a:cubicBezTo>
                          <a:pt x="136" y="193"/>
                          <a:pt x="138" y="189"/>
                          <a:pt x="139" y="189"/>
                        </a:cubicBezTo>
                        <a:cubicBezTo>
                          <a:pt x="139" y="190"/>
                          <a:pt x="139" y="190"/>
                          <a:pt x="140" y="190"/>
                        </a:cubicBezTo>
                        <a:cubicBezTo>
                          <a:pt x="140" y="193"/>
                          <a:pt x="140" y="196"/>
                          <a:pt x="140" y="198"/>
                        </a:cubicBezTo>
                        <a:cubicBezTo>
                          <a:pt x="142" y="198"/>
                          <a:pt x="144" y="199"/>
                          <a:pt x="145" y="20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1" name="Freeform 283">
                    <a:extLst>
                      <a:ext uri="{FF2B5EF4-FFF2-40B4-BE49-F238E27FC236}">
                        <a16:creationId xmlns:a16="http://schemas.microsoft.com/office/drawing/2014/main" xmlns="" id="{CC4066CC-C51E-439F-B02A-CB1AC3065D8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61088" y="3333751"/>
                    <a:ext cx="206375" cy="434975"/>
                  </a:xfrm>
                  <a:custGeom>
                    <a:avLst/>
                    <a:gdLst>
                      <a:gd name="T0" fmla="*/ 5 w 58"/>
                      <a:gd name="T1" fmla="*/ 45 h 123"/>
                      <a:gd name="T2" fmla="*/ 5 w 58"/>
                      <a:gd name="T3" fmla="*/ 52 h 123"/>
                      <a:gd name="T4" fmla="*/ 8 w 58"/>
                      <a:gd name="T5" fmla="*/ 65 h 123"/>
                      <a:gd name="T6" fmla="*/ 9 w 58"/>
                      <a:gd name="T7" fmla="*/ 74 h 123"/>
                      <a:gd name="T8" fmla="*/ 12 w 58"/>
                      <a:gd name="T9" fmla="*/ 81 h 123"/>
                      <a:gd name="T10" fmla="*/ 15 w 58"/>
                      <a:gd name="T11" fmla="*/ 90 h 123"/>
                      <a:gd name="T12" fmla="*/ 18 w 58"/>
                      <a:gd name="T13" fmla="*/ 96 h 123"/>
                      <a:gd name="T14" fmla="*/ 20 w 58"/>
                      <a:gd name="T15" fmla="*/ 114 h 123"/>
                      <a:gd name="T16" fmla="*/ 24 w 58"/>
                      <a:gd name="T17" fmla="*/ 120 h 123"/>
                      <a:gd name="T18" fmla="*/ 26 w 58"/>
                      <a:gd name="T19" fmla="*/ 113 h 123"/>
                      <a:gd name="T20" fmla="*/ 30 w 58"/>
                      <a:gd name="T21" fmla="*/ 116 h 123"/>
                      <a:gd name="T22" fmla="*/ 34 w 58"/>
                      <a:gd name="T23" fmla="*/ 122 h 123"/>
                      <a:gd name="T24" fmla="*/ 40 w 58"/>
                      <a:gd name="T25" fmla="*/ 117 h 123"/>
                      <a:gd name="T26" fmla="*/ 44 w 58"/>
                      <a:gd name="T27" fmla="*/ 111 h 123"/>
                      <a:gd name="T28" fmla="*/ 49 w 58"/>
                      <a:gd name="T29" fmla="*/ 110 h 123"/>
                      <a:gd name="T30" fmla="*/ 51 w 58"/>
                      <a:gd name="T31" fmla="*/ 102 h 123"/>
                      <a:gd name="T32" fmla="*/ 48 w 58"/>
                      <a:gd name="T33" fmla="*/ 98 h 123"/>
                      <a:gd name="T34" fmla="*/ 46 w 58"/>
                      <a:gd name="T35" fmla="*/ 86 h 123"/>
                      <a:gd name="T36" fmla="*/ 43 w 58"/>
                      <a:gd name="T37" fmla="*/ 78 h 123"/>
                      <a:gd name="T38" fmla="*/ 46 w 58"/>
                      <a:gd name="T39" fmla="*/ 74 h 123"/>
                      <a:gd name="T40" fmla="*/ 53 w 58"/>
                      <a:gd name="T41" fmla="*/ 72 h 123"/>
                      <a:gd name="T42" fmla="*/ 56 w 58"/>
                      <a:gd name="T43" fmla="*/ 66 h 123"/>
                      <a:gd name="T44" fmla="*/ 58 w 58"/>
                      <a:gd name="T45" fmla="*/ 49 h 123"/>
                      <a:gd name="T46" fmla="*/ 54 w 58"/>
                      <a:gd name="T47" fmla="*/ 33 h 123"/>
                      <a:gd name="T48" fmla="*/ 50 w 58"/>
                      <a:gd name="T49" fmla="*/ 25 h 123"/>
                      <a:gd name="T50" fmla="*/ 49 w 58"/>
                      <a:gd name="T51" fmla="*/ 19 h 123"/>
                      <a:gd name="T52" fmla="*/ 45 w 58"/>
                      <a:gd name="T53" fmla="*/ 17 h 123"/>
                      <a:gd name="T54" fmla="*/ 39 w 58"/>
                      <a:gd name="T55" fmla="*/ 15 h 123"/>
                      <a:gd name="T56" fmla="*/ 34 w 58"/>
                      <a:gd name="T57" fmla="*/ 11 h 123"/>
                      <a:gd name="T58" fmla="*/ 34 w 58"/>
                      <a:gd name="T59" fmla="*/ 2 h 123"/>
                      <a:gd name="T60" fmla="*/ 33 w 58"/>
                      <a:gd name="T61" fmla="*/ 4 h 123"/>
                      <a:gd name="T62" fmla="*/ 24 w 58"/>
                      <a:gd name="T63" fmla="*/ 6 h 123"/>
                      <a:gd name="T64" fmla="*/ 18 w 58"/>
                      <a:gd name="T65" fmla="*/ 7 h 123"/>
                      <a:gd name="T66" fmla="*/ 15 w 58"/>
                      <a:gd name="T67" fmla="*/ 12 h 123"/>
                      <a:gd name="T68" fmla="*/ 11 w 58"/>
                      <a:gd name="T69" fmla="*/ 16 h 123"/>
                      <a:gd name="T70" fmla="*/ 6 w 58"/>
                      <a:gd name="T71" fmla="*/ 12 h 123"/>
                      <a:gd name="T72" fmla="*/ 1 w 58"/>
                      <a:gd name="T73" fmla="*/ 18 h 123"/>
                      <a:gd name="T74" fmla="*/ 2 w 58"/>
                      <a:gd name="T75" fmla="*/ 25 h 123"/>
                      <a:gd name="T76" fmla="*/ 2 w 58"/>
                      <a:gd name="T77" fmla="*/ 39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</a:cxnLst>
                    <a:rect l="0" t="0" r="r" b="b"/>
                    <a:pathLst>
                      <a:path w="58" h="123">
                        <a:moveTo>
                          <a:pt x="2" y="39"/>
                        </a:moveTo>
                        <a:cubicBezTo>
                          <a:pt x="4" y="40"/>
                          <a:pt x="4" y="44"/>
                          <a:pt x="5" y="45"/>
                        </a:cubicBezTo>
                        <a:cubicBezTo>
                          <a:pt x="5" y="46"/>
                          <a:pt x="5" y="47"/>
                          <a:pt x="5" y="49"/>
                        </a:cubicBezTo>
                        <a:cubicBezTo>
                          <a:pt x="5" y="50"/>
                          <a:pt x="4" y="51"/>
                          <a:pt x="5" y="52"/>
                        </a:cubicBezTo>
                        <a:cubicBezTo>
                          <a:pt x="6" y="54"/>
                          <a:pt x="8" y="54"/>
                          <a:pt x="8" y="56"/>
                        </a:cubicBezTo>
                        <a:cubicBezTo>
                          <a:pt x="8" y="59"/>
                          <a:pt x="8" y="62"/>
                          <a:pt x="8" y="65"/>
                        </a:cubicBezTo>
                        <a:cubicBezTo>
                          <a:pt x="7" y="66"/>
                          <a:pt x="7" y="68"/>
                          <a:pt x="7" y="69"/>
                        </a:cubicBezTo>
                        <a:cubicBezTo>
                          <a:pt x="7" y="71"/>
                          <a:pt x="8" y="72"/>
                          <a:pt x="9" y="74"/>
                        </a:cubicBezTo>
                        <a:cubicBezTo>
                          <a:pt x="9" y="76"/>
                          <a:pt x="9" y="77"/>
                          <a:pt x="10" y="79"/>
                        </a:cubicBezTo>
                        <a:cubicBezTo>
                          <a:pt x="11" y="80"/>
                          <a:pt x="11" y="80"/>
                          <a:pt x="12" y="81"/>
                        </a:cubicBezTo>
                        <a:cubicBezTo>
                          <a:pt x="13" y="83"/>
                          <a:pt x="14" y="86"/>
                          <a:pt x="15" y="88"/>
                        </a:cubicBezTo>
                        <a:cubicBezTo>
                          <a:pt x="15" y="89"/>
                          <a:pt x="15" y="90"/>
                          <a:pt x="15" y="90"/>
                        </a:cubicBezTo>
                        <a:cubicBezTo>
                          <a:pt x="16" y="92"/>
                          <a:pt x="16" y="93"/>
                          <a:pt x="17" y="94"/>
                        </a:cubicBezTo>
                        <a:cubicBezTo>
                          <a:pt x="17" y="94"/>
                          <a:pt x="18" y="95"/>
                          <a:pt x="18" y="96"/>
                        </a:cubicBezTo>
                        <a:cubicBezTo>
                          <a:pt x="18" y="98"/>
                          <a:pt x="19" y="99"/>
                          <a:pt x="19" y="101"/>
                        </a:cubicBezTo>
                        <a:cubicBezTo>
                          <a:pt x="19" y="105"/>
                          <a:pt x="20" y="110"/>
                          <a:pt x="20" y="114"/>
                        </a:cubicBezTo>
                        <a:cubicBezTo>
                          <a:pt x="20" y="116"/>
                          <a:pt x="22" y="116"/>
                          <a:pt x="22" y="118"/>
                        </a:cubicBezTo>
                        <a:cubicBezTo>
                          <a:pt x="22" y="120"/>
                          <a:pt x="22" y="120"/>
                          <a:pt x="24" y="120"/>
                        </a:cubicBezTo>
                        <a:cubicBezTo>
                          <a:pt x="26" y="119"/>
                          <a:pt x="25" y="118"/>
                          <a:pt x="25" y="117"/>
                        </a:cubicBezTo>
                        <a:cubicBezTo>
                          <a:pt x="25" y="115"/>
                          <a:pt x="25" y="113"/>
                          <a:pt x="26" y="113"/>
                        </a:cubicBezTo>
                        <a:cubicBezTo>
                          <a:pt x="27" y="113"/>
                          <a:pt x="27" y="114"/>
                          <a:pt x="28" y="114"/>
                        </a:cubicBezTo>
                        <a:cubicBezTo>
                          <a:pt x="28" y="115"/>
                          <a:pt x="29" y="115"/>
                          <a:pt x="30" y="116"/>
                        </a:cubicBezTo>
                        <a:cubicBezTo>
                          <a:pt x="31" y="117"/>
                          <a:pt x="32" y="118"/>
                          <a:pt x="32" y="120"/>
                        </a:cubicBezTo>
                        <a:cubicBezTo>
                          <a:pt x="33" y="121"/>
                          <a:pt x="33" y="122"/>
                          <a:pt x="34" y="122"/>
                        </a:cubicBezTo>
                        <a:cubicBezTo>
                          <a:pt x="36" y="123"/>
                          <a:pt x="37" y="122"/>
                          <a:pt x="38" y="122"/>
                        </a:cubicBezTo>
                        <a:cubicBezTo>
                          <a:pt x="39" y="121"/>
                          <a:pt x="39" y="119"/>
                          <a:pt x="40" y="117"/>
                        </a:cubicBezTo>
                        <a:cubicBezTo>
                          <a:pt x="41" y="116"/>
                          <a:pt x="42" y="117"/>
                          <a:pt x="43" y="115"/>
                        </a:cubicBezTo>
                        <a:cubicBezTo>
                          <a:pt x="43" y="114"/>
                          <a:pt x="42" y="112"/>
                          <a:pt x="44" y="111"/>
                        </a:cubicBezTo>
                        <a:cubicBezTo>
                          <a:pt x="45" y="110"/>
                          <a:pt x="47" y="113"/>
                          <a:pt x="48" y="112"/>
                        </a:cubicBezTo>
                        <a:cubicBezTo>
                          <a:pt x="49" y="110"/>
                          <a:pt x="49" y="110"/>
                          <a:pt x="49" y="110"/>
                        </a:cubicBezTo>
                        <a:cubicBezTo>
                          <a:pt x="49" y="110"/>
                          <a:pt x="49" y="110"/>
                          <a:pt x="50" y="109"/>
                        </a:cubicBezTo>
                        <a:cubicBezTo>
                          <a:pt x="50" y="108"/>
                          <a:pt x="49" y="103"/>
                          <a:pt x="51" y="102"/>
                        </a:cubicBezTo>
                        <a:cubicBezTo>
                          <a:pt x="51" y="101"/>
                          <a:pt x="50" y="101"/>
                          <a:pt x="50" y="100"/>
                        </a:cubicBezTo>
                        <a:cubicBezTo>
                          <a:pt x="49" y="99"/>
                          <a:pt x="48" y="98"/>
                          <a:pt x="48" y="98"/>
                        </a:cubicBezTo>
                        <a:cubicBezTo>
                          <a:pt x="46" y="96"/>
                          <a:pt x="47" y="94"/>
                          <a:pt x="46" y="92"/>
                        </a:cubicBezTo>
                        <a:cubicBezTo>
                          <a:pt x="46" y="90"/>
                          <a:pt x="45" y="88"/>
                          <a:pt x="46" y="86"/>
                        </a:cubicBezTo>
                        <a:cubicBezTo>
                          <a:pt x="47" y="84"/>
                          <a:pt x="46" y="82"/>
                          <a:pt x="46" y="79"/>
                        </a:cubicBezTo>
                        <a:cubicBezTo>
                          <a:pt x="45" y="80"/>
                          <a:pt x="44" y="80"/>
                          <a:pt x="43" y="78"/>
                        </a:cubicBezTo>
                        <a:cubicBezTo>
                          <a:pt x="43" y="77"/>
                          <a:pt x="42" y="75"/>
                          <a:pt x="43" y="74"/>
                        </a:cubicBezTo>
                        <a:cubicBezTo>
                          <a:pt x="44" y="73"/>
                          <a:pt x="44" y="74"/>
                          <a:pt x="46" y="74"/>
                        </a:cubicBezTo>
                        <a:cubicBezTo>
                          <a:pt x="47" y="74"/>
                          <a:pt x="48" y="74"/>
                          <a:pt x="50" y="74"/>
                        </a:cubicBezTo>
                        <a:cubicBezTo>
                          <a:pt x="51" y="74"/>
                          <a:pt x="53" y="74"/>
                          <a:pt x="53" y="72"/>
                        </a:cubicBezTo>
                        <a:cubicBezTo>
                          <a:pt x="54" y="71"/>
                          <a:pt x="54" y="69"/>
                          <a:pt x="55" y="68"/>
                        </a:cubicBezTo>
                        <a:cubicBezTo>
                          <a:pt x="55" y="67"/>
                          <a:pt x="56" y="67"/>
                          <a:pt x="56" y="66"/>
                        </a:cubicBezTo>
                        <a:cubicBezTo>
                          <a:pt x="56" y="64"/>
                          <a:pt x="57" y="62"/>
                          <a:pt x="57" y="60"/>
                        </a:cubicBezTo>
                        <a:cubicBezTo>
                          <a:pt x="57" y="56"/>
                          <a:pt x="58" y="52"/>
                          <a:pt x="58" y="49"/>
                        </a:cubicBezTo>
                        <a:cubicBezTo>
                          <a:pt x="58" y="45"/>
                          <a:pt x="57" y="42"/>
                          <a:pt x="56" y="40"/>
                        </a:cubicBezTo>
                        <a:cubicBezTo>
                          <a:pt x="55" y="37"/>
                          <a:pt x="55" y="35"/>
                          <a:pt x="54" y="33"/>
                        </a:cubicBezTo>
                        <a:cubicBezTo>
                          <a:pt x="53" y="31"/>
                          <a:pt x="51" y="29"/>
                          <a:pt x="51" y="28"/>
                        </a:cubicBezTo>
                        <a:cubicBezTo>
                          <a:pt x="50" y="27"/>
                          <a:pt x="50" y="26"/>
                          <a:pt x="50" y="25"/>
                        </a:cubicBezTo>
                        <a:cubicBezTo>
                          <a:pt x="50" y="23"/>
                          <a:pt x="50" y="23"/>
                          <a:pt x="49" y="22"/>
                        </a:cubicBezTo>
                        <a:cubicBezTo>
                          <a:pt x="47" y="21"/>
                          <a:pt x="49" y="20"/>
                          <a:pt x="49" y="19"/>
                        </a:cubicBezTo>
                        <a:cubicBezTo>
                          <a:pt x="50" y="18"/>
                          <a:pt x="50" y="17"/>
                          <a:pt x="50" y="16"/>
                        </a:cubicBezTo>
                        <a:cubicBezTo>
                          <a:pt x="48" y="16"/>
                          <a:pt x="46" y="17"/>
                          <a:pt x="45" y="17"/>
                        </a:cubicBezTo>
                        <a:cubicBezTo>
                          <a:pt x="44" y="17"/>
                          <a:pt x="42" y="17"/>
                          <a:pt x="41" y="16"/>
                        </a:cubicBezTo>
                        <a:cubicBezTo>
                          <a:pt x="40" y="16"/>
                          <a:pt x="40" y="16"/>
                          <a:pt x="39" y="15"/>
                        </a:cubicBezTo>
                        <a:cubicBezTo>
                          <a:pt x="36" y="15"/>
                          <a:pt x="35" y="15"/>
                          <a:pt x="32" y="14"/>
                        </a:cubicBezTo>
                        <a:cubicBezTo>
                          <a:pt x="32" y="13"/>
                          <a:pt x="33" y="13"/>
                          <a:pt x="34" y="11"/>
                        </a:cubicBezTo>
                        <a:cubicBezTo>
                          <a:pt x="35" y="11"/>
                          <a:pt x="34" y="9"/>
                          <a:pt x="34" y="8"/>
                        </a:cubicBezTo>
                        <a:cubicBezTo>
                          <a:pt x="34" y="6"/>
                          <a:pt x="35" y="4"/>
                          <a:pt x="34" y="2"/>
                        </a:cubicBezTo>
                        <a:cubicBezTo>
                          <a:pt x="34" y="1"/>
                          <a:pt x="34" y="1"/>
                          <a:pt x="34" y="1"/>
                        </a:cubicBezTo>
                        <a:cubicBezTo>
                          <a:pt x="33" y="2"/>
                          <a:pt x="33" y="3"/>
                          <a:pt x="33" y="4"/>
                        </a:cubicBezTo>
                        <a:cubicBezTo>
                          <a:pt x="32" y="4"/>
                          <a:pt x="30" y="3"/>
                          <a:pt x="28" y="4"/>
                        </a:cubicBezTo>
                        <a:cubicBezTo>
                          <a:pt x="27" y="4"/>
                          <a:pt x="26" y="6"/>
                          <a:pt x="24" y="6"/>
                        </a:cubicBezTo>
                        <a:cubicBezTo>
                          <a:pt x="23" y="3"/>
                          <a:pt x="20" y="2"/>
                          <a:pt x="19" y="0"/>
                        </a:cubicBezTo>
                        <a:cubicBezTo>
                          <a:pt x="19" y="2"/>
                          <a:pt x="19" y="5"/>
                          <a:pt x="18" y="7"/>
                        </a:cubicBezTo>
                        <a:cubicBezTo>
                          <a:pt x="17" y="8"/>
                          <a:pt x="16" y="7"/>
                          <a:pt x="15" y="9"/>
                        </a:cubicBezTo>
                        <a:cubicBezTo>
                          <a:pt x="15" y="9"/>
                          <a:pt x="15" y="11"/>
                          <a:pt x="15" y="12"/>
                        </a:cubicBezTo>
                        <a:cubicBezTo>
                          <a:pt x="14" y="12"/>
                          <a:pt x="13" y="12"/>
                          <a:pt x="12" y="12"/>
                        </a:cubicBezTo>
                        <a:cubicBezTo>
                          <a:pt x="12" y="14"/>
                          <a:pt x="12" y="15"/>
                          <a:pt x="11" y="16"/>
                        </a:cubicBezTo>
                        <a:cubicBezTo>
                          <a:pt x="10" y="17"/>
                          <a:pt x="8" y="18"/>
                          <a:pt x="6" y="18"/>
                        </a:cubicBezTo>
                        <a:cubicBezTo>
                          <a:pt x="6" y="16"/>
                          <a:pt x="6" y="14"/>
                          <a:pt x="6" y="12"/>
                        </a:cubicBezTo>
                        <a:cubicBezTo>
                          <a:pt x="6" y="12"/>
                          <a:pt x="3" y="13"/>
                          <a:pt x="1" y="13"/>
                        </a:cubicBezTo>
                        <a:cubicBezTo>
                          <a:pt x="0" y="15"/>
                          <a:pt x="0" y="16"/>
                          <a:pt x="1" y="18"/>
                        </a:cubicBezTo>
                        <a:cubicBezTo>
                          <a:pt x="1" y="19"/>
                          <a:pt x="3" y="19"/>
                          <a:pt x="3" y="21"/>
                        </a:cubicBezTo>
                        <a:cubicBezTo>
                          <a:pt x="3" y="22"/>
                          <a:pt x="2" y="23"/>
                          <a:pt x="2" y="25"/>
                        </a:cubicBezTo>
                        <a:cubicBezTo>
                          <a:pt x="3" y="26"/>
                          <a:pt x="4" y="27"/>
                          <a:pt x="4" y="29"/>
                        </a:cubicBezTo>
                        <a:cubicBezTo>
                          <a:pt x="4" y="32"/>
                          <a:pt x="3" y="35"/>
                          <a:pt x="2" y="39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2" name="Freeform 284">
                    <a:extLst>
                      <a:ext uri="{FF2B5EF4-FFF2-40B4-BE49-F238E27FC236}">
                        <a16:creationId xmlns:a16="http://schemas.microsoft.com/office/drawing/2014/main" xmlns="" id="{FF9809EA-E03E-4684-8EBC-F3E03F4B86A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751513" y="3079751"/>
                    <a:ext cx="492125" cy="176213"/>
                  </a:xfrm>
                  <a:custGeom>
                    <a:avLst/>
                    <a:gdLst>
                      <a:gd name="T0" fmla="*/ 2 w 139"/>
                      <a:gd name="T1" fmla="*/ 39 h 50"/>
                      <a:gd name="T2" fmla="*/ 16 w 139"/>
                      <a:gd name="T3" fmla="*/ 43 h 50"/>
                      <a:gd name="T4" fmla="*/ 28 w 139"/>
                      <a:gd name="T5" fmla="*/ 46 h 50"/>
                      <a:gd name="T6" fmla="*/ 54 w 139"/>
                      <a:gd name="T7" fmla="*/ 45 h 50"/>
                      <a:gd name="T8" fmla="*/ 65 w 139"/>
                      <a:gd name="T9" fmla="*/ 46 h 50"/>
                      <a:gd name="T10" fmla="*/ 77 w 139"/>
                      <a:gd name="T11" fmla="*/ 47 h 50"/>
                      <a:gd name="T12" fmla="*/ 82 w 139"/>
                      <a:gd name="T13" fmla="*/ 47 h 50"/>
                      <a:gd name="T14" fmla="*/ 89 w 139"/>
                      <a:gd name="T15" fmla="*/ 47 h 50"/>
                      <a:gd name="T16" fmla="*/ 94 w 139"/>
                      <a:gd name="T17" fmla="*/ 45 h 50"/>
                      <a:gd name="T18" fmla="*/ 115 w 139"/>
                      <a:gd name="T19" fmla="*/ 49 h 50"/>
                      <a:gd name="T20" fmla="*/ 123 w 139"/>
                      <a:gd name="T21" fmla="*/ 47 h 50"/>
                      <a:gd name="T22" fmla="*/ 135 w 139"/>
                      <a:gd name="T23" fmla="*/ 40 h 50"/>
                      <a:gd name="T24" fmla="*/ 138 w 139"/>
                      <a:gd name="T25" fmla="*/ 33 h 50"/>
                      <a:gd name="T26" fmla="*/ 133 w 139"/>
                      <a:gd name="T27" fmla="*/ 21 h 50"/>
                      <a:gd name="T28" fmla="*/ 123 w 139"/>
                      <a:gd name="T29" fmla="*/ 16 h 50"/>
                      <a:gd name="T30" fmla="*/ 111 w 139"/>
                      <a:gd name="T31" fmla="*/ 18 h 50"/>
                      <a:gd name="T32" fmla="*/ 109 w 139"/>
                      <a:gd name="T33" fmla="*/ 7 h 50"/>
                      <a:gd name="T34" fmla="*/ 114 w 139"/>
                      <a:gd name="T35" fmla="*/ 2 h 50"/>
                      <a:gd name="T36" fmla="*/ 103 w 139"/>
                      <a:gd name="T37" fmla="*/ 2 h 50"/>
                      <a:gd name="T38" fmla="*/ 91 w 139"/>
                      <a:gd name="T39" fmla="*/ 6 h 50"/>
                      <a:gd name="T40" fmla="*/ 87 w 139"/>
                      <a:gd name="T41" fmla="*/ 6 h 50"/>
                      <a:gd name="T42" fmla="*/ 80 w 139"/>
                      <a:gd name="T43" fmla="*/ 9 h 50"/>
                      <a:gd name="T44" fmla="*/ 73 w 139"/>
                      <a:gd name="T45" fmla="*/ 16 h 50"/>
                      <a:gd name="T46" fmla="*/ 70 w 139"/>
                      <a:gd name="T47" fmla="*/ 19 h 50"/>
                      <a:gd name="T48" fmla="*/ 66 w 139"/>
                      <a:gd name="T49" fmla="*/ 13 h 50"/>
                      <a:gd name="T50" fmla="*/ 60 w 139"/>
                      <a:gd name="T51" fmla="*/ 16 h 50"/>
                      <a:gd name="T52" fmla="*/ 53 w 139"/>
                      <a:gd name="T53" fmla="*/ 11 h 50"/>
                      <a:gd name="T54" fmla="*/ 43 w 139"/>
                      <a:gd name="T55" fmla="*/ 10 h 50"/>
                      <a:gd name="T56" fmla="*/ 33 w 139"/>
                      <a:gd name="T57" fmla="*/ 8 h 50"/>
                      <a:gd name="T58" fmla="*/ 22 w 139"/>
                      <a:gd name="T59" fmla="*/ 9 h 50"/>
                      <a:gd name="T60" fmla="*/ 9 w 139"/>
                      <a:gd name="T61" fmla="*/ 13 h 50"/>
                      <a:gd name="T62" fmla="*/ 5 w 139"/>
                      <a:gd name="T63" fmla="*/ 20 h 50"/>
                      <a:gd name="T64" fmla="*/ 7 w 139"/>
                      <a:gd name="T65" fmla="*/ 27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139" h="50">
                        <a:moveTo>
                          <a:pt x="0" y="27"/>
                        </a:moveTo>
                        <a:cubicBezTo>
                          <a:pt x="0" y="31"/>
                          <a:pt x="0" y="36"/>
                          <a:pt x="2" y="39"/>
                        </a:cubicBezTo>
                        <a:cubicBezTo>
                          <a:pt x="3" y="41"/>
                          <a:pt x="6" y="40"/>
                          <a:pt x="9" y="40"/>
                        </a:cubicBezTo>
                        <a:cubicBezTo>
                          <a:pt x="12" y="39"/>
                          <a:pt x="13" y="42"/>
                          <a:pt x="16" y="43"/>
                        </a:cubicBezTo>
                        <a:cubicBezTo>
                          <a:pt x="17" y="43"/>
                          <a:pt x="20" y="44"/>
                          <a:pt x="22" y="44"/>
                        </a:cubicBezTo>
                        <a:cubicBezTo>
                          <a:pt x="24" y="45"/>
                          <a:pt x="26" y="45"/>
                          <a:pt x="28" y="46"/>
                        </a:cubicBezTo>
                        <a:cubicBezTo>
                          <a:pt x="32" y="46"/>
                          <a:pt x="37" y="46"/>
                          <a:pt x="41" y="45"/>
                        </a:cubicBezTo>
                        <a:cubicBezTo>
                          <a:pt x="45" y="45"/>
                          <a:pt x="50" y="45"/>
                          <a:pt x="54" y="45"/>
                        </a:cubicBezTo>
                        <a:cubicBezTo>
                          <a:pt x="56" y="45"/>
                          <a:pt x="58" y="45"/>
                          <a:pt x="59" y="45"/>
                        </a:cubicBezTo>
                        <a:cubicBezTo>
                          <a:pt x="61" y="45"/>
                          <a:pt x="63" y="46"/>
                          <a:pt x="65" y="46"/>
                        </a:cubicBezTo>
                        <a:cubicBezTo>
                          <a:pt x="67" y="46"/>
                          <a:pt x="69" y="44"/>
                          <a:pt x="71" y="44"/>
                        </a:cubicBezTo>
                        <a:cubicBezTo>
                          <a:pt x="73" y="44"/>
                          <a:pt x="75" y="47"/>
                          <a:pt x="77" y="47"/>
                        </a:cubicBezTo>
                        <a:cubicBezTo>
                          <a:pt x="78" y="47"/>
                          <a:pt x="80" y="45"/>
                          <a:pt x="81" y="46"/>
                        </a:cubicBezTo>
                        <a:cubicBezTo>
                          <a:pt x="82" y="47"/>
                          <a:pt x="82" y="47"/>
                          <a:pt x="82" y="47"/>
                        </a:cubicBezTo>
                        <a:cubicBezTo>
                          <a:pt x="83" y="47"/>
                          <a:pt x="83" y="47"/>
                          <a:pt x="83" y="47"/>
                        </a:cubicBezTo>
                        <a:cubicBezTo>
                          <a:pt x="84" y="47"/>
                          <a:pt x="88" y="47"/>
                          <a:pt x="89" y="47"/>
                        </a:cubicBezTo>
                        <a:cubicBezTo>
                          <a:pt x="90" y="46"/>
                          <a:pt x="89" y="45"/>
                          <a:pt x="91" y="45"/>
                        </a:cubicBezTo>
                        <a:cubicBezTo>
                          <a:pt x="92" y="44"/>
                          <a:pt x="93" y="45"/>
                          <a:pt x="94" y="45"/>
                        </a:cubicBezTo>
                        <a:cubicBezTo>
                          <a:pt x="98" y="44"/>
                          <a:pt x="102" y="45"/>
                          <a:pt x="106" y="45"/>
                        </a:cubicBezTo>
                        <a:cubicBezTo>
                          <a:pt x="110" y="45"/>
                          <a:pt x="113" y="46"/>
                          <a:pt x="115" y="49"/>
                        </a:cubicBezTo>
                        <a:cubicBezTo>
                          <a:pt x="117" y="49"/>
                          <a:pt x="120" y="49"/>
                          <a:pt x="122" y="50"/>
                        </a:cubicBezTo>
                        <a:cubicBezTo>
                          <a:pt x="122" y="49"/>
                          <a:pt x="122" y="48"/>
                          <a:pt x="123" y="47"/>
                        </a:cubicBezTo>
                        <a:cubicBezTo>
                          <a:pt x="125" y="46"/>
                          <a:pt x="127" y="46"/>
                          <a:pt x="129" y="45"/>
                        </a:cubicBezTo>
                        <a:cubicBezTo>
                          <a:pt x="132" y="44"/>
                          <a:pt x="133" y="41"/>
                          <a:pt x="135" y="40"/>
                        </a:cubicBezTo>
                        <a:cubicBezTo>
                          <a:pt x="136" y="39"/>
                          <a:pt x="138" y="39"/>
                          <a:pt x="138" y="39"/>
                        </a:cubicBezTo>
                        <a:cubicBezTo>
                          <a:pt x="139" y="37"/>
                          <a:pt x="139" y="35"/>
                          <a:pt x="138" y="33"/>
                        </a:cubicBezTo>
                        <a:cubicBezTo>
                          <a:pt x="136" y="31"/>
                          <a:pt x="132" y="31"/>
                          <a:pt x="131" y="28"/>
                        </a:cubicBezTo>
                        <a:cubicBezTo>
                          <a:pt x="131" y="26"/>
                          <a:pt x="131" y="21"/>
                          <a:pt x="133" y="21"/>
                        </a:cubicBezTo>
                        <a:cubicBezTo>
                          <a:pt x="131" y="21"/>
                          <a:pt x="128" y="21"/>
                          <a:pt x="127" y="20"/>
                        </a:cubicBezTo>
                        <a:cubicBezTo>
                          <a:pt x="125" y="19"/>
                          <a:pt x="125" y="16"/>
                          <a:pt x="123" y="16"/>
                        </a:cubicBezTo>
                        <a:cubicBezTo>
                          <a:pt x="121" y="15"/>
                          <a:pt x="118" y="16"/>
                          <a:pt x="116" y="16"/>
                        </a:cubicBezTo>
                        <a:cubicBezTo>
                          <a:pt x="114" y="17"/>
                          <a:pt x="113" y="19"/>
                          <a:pt x="111" y="18"/>
                        </a:cubicBezTo>
                        <a:cubicBezTo>
                          <a:pt x="110" y="16"/>
                          <a:pt x="111" y="14"/>
                          <a:pt x="111" y="12"/>
                        </a:cubicBezTo>
                        <a:cubicBezTo>
                          <a:pt x="112" y="10"/>
                          <a:pt x="112" y="8"/>
                          <a:pt x="109" y="7"/>
                        </a:cubicBezTo>
                        <a:cubicBezTo>
                          <a:pt x="109" y="6"/>
                          <a:pt x="110" y="4"/>
                          <a:pt x="111" y="4"/>
                        </a:cubicBezTo>
                        <a:cubicBezTo>
                          <a:pt x="112" y="3"/>
                          <a:pt x="114" y="4"/>
                          <a:pt x="114" y="2"/>
                        </a:cubicBezTo>
                        <a:cubicBezTo>
                          <a:pt x="112" y="2"/>
                          <a:pt x="110" y="2"/>
                          <a:pt x="108" y="2"/>
                        </a:cubicBezTo>
                        <a:cubicBezTo>
                          <a:pt x="106" y="2"/>
                          <a:pt x="104" y="2"/>
                          <a:pt x="103" y="2"/>
                        </a:cubicBezTo>
                        <a:cubicBezTo>
                          <a:pt x="100" y="6"/>
                          <a:pt x="96" y="0"/>
                          <a:pt x="93" y="2"/>
                        </a:cubicBezTo>
                        <a:cubicBezTo>
                          <a:pt x="91" y="3"/>
                          <a:pt x="92" y="4"/>
                          <a:pt x="91" y="6"/>
                        </a:cubicBezTo>
                        <a:cubicBezTo>
                          <a:pt x="91" y="8"/>
                          <a:pt x="90" y="8"/>
                          <a:pt x="90" y="10"/>
                        </a:cubicBezTo>
                        <a:cubicBezTo>
                          <a:pt x="88" y="10"/>
                          <a:pt x="88" y="7"/>
                          <a:pt x="87" y="6"/>
                        </a:cubicBezTo>
                        <a:cubicBezTo>
                          <a:pt x="86" y="5"/>
                          <a:pt x="84" y="5"/>
                          <a:pt x="83" y="5"/>
                        </a:cubicBezTo>
                        <a:cubicBezTo>
                          <a:pt x="83" y="7"/>
                          <a:pt x="80" y="7"/>
                          <a:pt x="80" y="9"/>
                        </a:cubicBezTo>
                        <a:cubicBezTo>
                          <a:pt x="79" y="11"/>
                          <a:pt x="83" y="12"/>
                          <a:pt x="79" y="13"/>
                        </a:cubicBezTo>
                        <a:cubicBezTo>
                          <a:pt x="77" y="13"/>
                          <a:pt x="74" y="12"/>
                          <a:pt x="73" y="16"/>
                        </a:cubicBezTo>
                        <a:cubicBezTo>
                          <a:pt x="73" y="16"/>
                          <a:pt x="72" y="16"/>
                          <a:pt x="71" y="16"/>
                        </a:cubicBezTo>
                        <a:cubicBezTo>
                          <a:pt x="70" y="17"/>
                          <a:pt x="70" y="18"/>
                          <a:pt x="70" y="19"/>
                        </a:cubicBezTo>
                        <a:cubicBezTo>
                          <a:pt x="68" y="19"/>
                          <a:pt x="67" y="20"/>
                          <a:pt x="66" y="18"/>
                        </a:cubicBezTo>
                        <a:cubicBezTo>
                          <a:pt x="65" y="16"/>
                          <a:pt x="66" y="14"/>
                          <a:pt x="66" y="13"/>
                        </a:cubicBezTo>
                        <a:cubicBezTo>
                          <a:pt x="65" y="13"/>
                          <a:pt x="64" y="13"/>
                          <a:pt x="63" y="13"/>
                        </a:cubicBezTo>
                        <a:cubicBezTo>
                          <a:pt x="62" y="14"/>
                          <a:pt x="62" y="16"/>
                          <a:pt x="60" y="16"/>
                        </a:cubicBezTo>
                        <a:cubicBezTo>
                          <a:pt x="59" y="15"/>
                          <a:pt x="59" y="13"/>
                          <a:pt x="58" y="12"/>
                        </a:cubicBezTo>
                        <a:cubicBezTo>
                          <a:pt x="56" y="10"/>
                          <a:pt x="55" y="12"/>
                          <a:pt x="53" y="11"/>
                        </a:cubicBezTo>
                        <a:cubicBezTo>
                          <a:pt x="51" y="10"/>
                          <a:pt x="50" y="9"/>
                          <a:pt x="48" y="9"/>
                        </a:cubicBezTo>
                        <a:cubicBezTo>
                          <a:pt x="46" y="9"/>
                          <a:pt x="45" y="10"/>
                          <a:pt x="43" y="10"/>
                        </a:cubicBezTo>
                        <a:cubicBezTo>
                          <a:pt x="41" y="10"/>
                          <a:pt x="38" y="10"/>
                          <a:pt x="36" y="10"/>
                        </a:cubicBezTo>
                        <a:cubicBezTo>
                          <a:pt x="35" y="10"/>
                          <a:pt x="34" y="9"/>
                          <a:pt x="33" y="8"/>
                        </a:cubicBezTo>
                        <a:cubicBezTo>
                          <a:pt x="31" y="8"/>
                          <a:pt x="30" y="8"/>
                          <a:pt x="28" y="8"/>
                        </a:cubicBezTo>
                        <a:cubicBezTo>
                          <a:pt x="26" y="9"/>
                          <a:pt x="24" y="9"/>
                          <a:pt x="22" y="9"/>
                        </a:cubicBezTo>
                        <a:cubicBezTo>
                          <a:pt x="22" y="13"/>
                          <a:pt x="14" y="11"/>
                          <a:pt x="12" y="12"/>
                        </a:cubicBezTo>
                        <a:cubicBezTo>
                          <a:pt x="10" y="12"/>
                          <a:pt x="10" y="12"/>
                          <a:pt x="9" y="13"/>
                        </a:cubicBezTo>
                        <a:cubicBezTo>
                          <a:pt x="8" y="14"/>
                          <a:pt x="7" y="16"/>
                          <a:pt x="5" y="16"/>
                        </a:cubicBezTo>
                        <a:cubicBezTo>
                          <a:pt x="5" y="18"/>
                          <a:pt x="5" y="19"/>
                          <a:pt x="5" y="20"/>
                        </a:cubicBezTo>
                        <a:cubicBezTo>
                          <a:pt x="5" y="20"/>
                          <a:pt x="6" y="20"/>
                          <a:pt x="6" y="20"/>
                        </a:cubicBezTo>
                        <a:cubicBezTo>
                          <a:pt x="7" y="21"/>
                          <a:pt x="9" y="26"/>
                          <a:pt x="7" y="27"/>
                        </a:cubicBezTo>
                        <a:cubicBezTo>
                          <a:pt x="6" y="28"/>
                          <a:pt x="3" y="28"/>
                          <a:pt x="0" y="27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3" name="Line 285">
                    <a:extLst>
                      <a:ext uri="{FF2B5EF4-FFF2-40B4-BE49-F238E27FC236}">
                        <a16:creationId xmlns:a16="http://schemas.microsoft.com/office/drawing/2014/main" xmlns="" id="{327CD251-B070-42C3-A6F3-06ABD189A04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030913" y="3241676"/>
                    <a:ext cx="0" cy="0"/>
                  </a:xfrm>
                  <a:prstGeom prst="line">
                    <a:avLst/>
                  </a:prstGeom>
                  <a:noFill/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4" name="Line 286">
                    <a:extLst>
                      <a:ext uri="{FF2B5EF4-FFF2-40B4-BE49-F238E27FC236}">
                        <a16:creationId xmlns:a16="http://schemas.microsoft.com/office/drawing/2014/main" xmlns="" id="{E199CE4D-54D2-4547-B241-A32752E1A8B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030913" y="3241676"/>
                    <a:ext cx="0" cy="0"/>
                  </a:xfrm>
                  <a:prstGeom prst="line">
                    <a:avLst/>
                  </a:prstGeom>
                  <a:noFill/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5" name="Freeform 287">
                    <a:extLst>
                      <a:ext uri="{FF2B5EF4-FFF2-40B4-BE49-F238E27FC236}">
                        <a16:creationId xmlns:a16="http://schemas.microsoft.com/office/drawing/2014/main" xmlns="" id="{FD8856E5-17D0-4754-869C-C241BF3EF19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29251" y="3260726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6" name="Freeform 288">
                    <a:extLst>
                      <a:ext uri="{FF2B5EF4-FFF2-40B4-BE49-F238E27FC236}">
                        <a16:creationId xmlns:a16="http://schemas.microsoft.com/office/drawing/2014/main" xmlns="" id="{6F1695B5-5E44-42FC-BA4B-22544AD330E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29251" y="3260726"/>
                    <a:ext cx="0" cy="3175"/>
                  </a:xfrm>
                  <a:custGeom>
                    <a:avLst/>
                    <a:gdLst>
                      <a:gd name="T0" fmla="*/ 0 h 2"/>
                      <a:gd name="T1" fmla="*/ 2 h 2"/>
                      <a:gd name="T2" fmla="*/ 0 h 2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2">
                        <a:moveTo>
                          <a:pt x="0" y="0"/>
                        </a:moveTo>
                        <a:lnTo>
                          <a:pt x="0" y="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7" name="Freeform 289">
                    <a:extLst>
                      <a:ext uri="{FF2B5EF4-FFF2-40B4-BE49-F238E27FC236}">
                        <a16:creationId xmlns:a16="http://schemas.microsoft.com/office/drawing/2014/main" xmlns="" id="{4486CFB6-D8E0-4F93-87D2-DDD29813840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29251" y="3263901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8" name="Freeform 290">
                    <a:extLst>
                      <a:ext uri="{FF2B5EF4-FFF2-40B4-BE49-F238E27FC236}">
                        <a16:creationId xmlns:a16="http://schemas.microsoft.com/office/drawing/2014/main" xmlns="" id="{2037D00D-BC24-4059-88EC-F61BE1FEF59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29251" y="3263901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39" name="Freeform 291">
                    <a:extLst>
                      <a:ext uri="{FF2B5EF4-FFF2-40B4-BE49-F238E27FC236}">
                        <a16:creationId xmlns:a16="http://schemas.microsoft.com/office/drawing/2014/main" xmlns="" id="{7F7F9067-B5ED-44E5-A707-BEF760036DC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11701" y="2860676"/>
                    <a:ext cx="792163" cy="565150"/>
                  </a:xfrm>
                  <a:custGeom>
                    <a:avLst/>
                    <a:gdLst>
                      <a:gd name="T0" fmla="*/ 26 w 224"/>
                      <a:gd name="T1" fmla="*/ 5 h 160"/>
                      <a:gd name="T2" fmla="*/ 40 w 224"/>
                      <a:gd name="T3" fmla="*/ 2 h 160"/>
                      <a:gd name="T4" fmla="*/ 60 w 224"/>
                      <a:gd name="T5" fmla="*/ 9 h 160"/>
                      <a:gd name="T6" fmla="*/ 63 w 224"/>
                      <a:gd name="T7" fmla="*/ 26 h 160"/>
                      <a:gd name="T8" fmla="*/ 84 w 224"/>
                      <a:gd name="T9" fmla="*/ 32 h 160"/>
                      <a:gd name="T10" fmla="*/ 96 w 224"/>
                      <a:gd name="T11" fmla="*/ 36 h 160"/>
                      <a:gd name="T12" fmla="*/ 107 w 224"/>
                      <a:gd name="T13" fmla="*/ 43 h 160"/>
                      <a:gd name="T14" fmla="*/ 117 w 224"/>
                      <a:gd name="T15" fmla="*/ 45 h 160"/>
                      <a:gd name="T16" fmla="*/ 126 w 224"/>
                      <a:gd name="T17" fmla="*/ 44 h 160"/>
                      <a:gd name="T18" fmla="*/ 142 w 224"/>
                      <a:gd name="T19" fmla="*/ 46 h 160"/>
                      <a:gd name="T20" fmla="*/ 153 w 224"/>
                      <a:gd name="T21" fmla="*/ 53 h 160"/>
                      <a:gd name="T22" fmla="*/ 163 w 224"/>
                      <a:gd name="T23" fmla="*/ 47 h 160"/>
                      <a:gd name="T24" fmla="*/ 169 w 224"/>
                      <a:gd name="T25" fmla="*/ 53 h 160"/>
                      <a:gd name="T26" fmla="*/ 179 w 224"/>
                      <a:gd name="T27" fmla="*/ 56 h 160"/>
                      <a:gd name="T28" fmla="*/ 194 w 224"/>
                      <a:gd name="T29" fmla="*/ 52 h 160"/>
                      <a:gd name="T30" fmla="*/ 209 w 224"/>
                      <a:gd name="T31" fmla="*/ 54 h 160"/>
                      <a:gd name="T32" fmla="*/ 213 w 224"/>
                      <a:gd name="T33" fmla="*/ 46 h 160"/>
                      <a:gd name="T34" fmla="*/ 217 w 224"/>
                      <a:gd name="T35" fmla="*/ 40 h 160"/>
                      <a:gd name="T36" fmla="*/ 221 w 224"/>
                      <a:gd name="T37" fmla="*/ 58 h 160"/>
                      <a:gd name="T38" fmla="*/ 211 w 224"/>
                      <a:gd name="T39" fmla="*/ 66 h 160"/>
                      <a:gd name="T40" fmla="*/ 203 w 224"/>
                      <a:gd name="T41" fmla="*/ 79 h 160"/>
                      <a:gd name="T42" fmla="*/ 210 w 224"/>
                      <a:gd name="T43" fmla="*/ 94 h 160"/>
                      <a:gd name="T44" fmla="*/ 207 w 224"/>
                      <a:gd name="T45" fmla="*/ 108 h 160"/>
                      <a:gd name="T46" fmla="*/ 203 w 224"/>
                      <a:gd name="T47" fmla="*/ 114 h 160"/>
                      <a:gd name="T48" fmla="*/ 189 w 224"/>
                      <a:gd name="T49" fmla="*/ 112 h 160"/>
                      <a:gd name="T50" fmla="*/ 175 w 224"/>
                      <a:gd name="T51" fmla="*/ 122 h 160"/>
                      <a:gd name="T52" fmla="*/ 168 w 224"/>
                      <a:gd name="T53" fmla="*/ 143 h 160"/>
                      <a:gd name="T54" fmla="*/ 157 w 224"/>
                      <a:gd name="T55" fmla="*/ 145 h 160"/>
                      <a:gd name="T56" fmla="*/ 147 w 224"/>
                      <a:gd name="T57" fmla="*/ 148 h 160"/>
                      <a:gd name="T58" fmla="*/ 136 w 224"/>
                      <a:gd name="T59" fmla="*/ 155 h 160"/>
                      <a:gd name="T60" fmla="*/ 128 w 224"/>
                      <a:gd name="T61" fmla="*/ 141 h 160"/>
                      <a:gd name="T62" fmla="*/ 115 w 224"/>
                      <a:gd name="T63" fmla="*/ 136 h 160"/>
                      <a:gd name="T64" fmla="*/ 107 w 224"/>
                      <a:gd name="T65" fmla="*/ 143 h 160"/>
                      <a:gd name="T66" fmla="*/ 102 w 224"/>
                      <a:gd name="T67" fmla="*/ 148 h 160"/>
                      <a:gd name="T68" fmla="*/ 83 w 224"/>
                      <a:gd name="T69" fmla="*/ 155 h 160"/>
                      <a:gd name="T70" fmla="*/ 70 w 224"/>
                      <a:gd name="T71" fmla="*/ 151 h 160"/>
                      <a:gd name="T72" fmla="*/ 60 w 224"/>
                      <a:gd name="T73" fmla="*/ 160 h 160"/>
                      <a:gd name="T74" fmla="*/ 38 w 224"/>
                      <a:gd name="T75" fmla="*/ 151 h 160"/>
                      <a:gd name="T76" fmla="*/ 8 w 224"/>
                      <a:gd name="T77" fmla="*/ 147 h 160"/>
                      <a:gd name="T78" fmla="*/ 5 w 224"/>
                      <a:gd name="T79" fmla="*/ 133 h 160"/>
                      <a:gd name="T80" fmla="*/ 7 w 224"/>
                      <a:gd name="T81" fmla="*/ 108 h 160"/>
                      <a:gd name="T82" fmla="*/ 29 w 224"/>
                      <a:gd name="T83" fmla="*/ 94 h 160"/>
                      <a:gd name="T84" fmla="*/ 41 w 224"/>
                      <a:gd name="T85" fmla="*/ 89 h 160"/>
                      <a:gd name="T86" fmla="*/ 55 w 224"/>
                      <a:gd name="T87" fmla="*/ 81 h 160"/>
                      <a:gd name="T88" fmla="*/ 38 w 224"/>
                      <a:gd name="T89" fmla="*/ 69 h 160"/>
                      <a:gd name="T90" fmla="*/ 39 w 224"/>
                      <a:gd name="T91" fmla="*/ 55 h 160"/>
                      <a:gd name="T92" fmla="*/ 31 w 224"/>
                      <a:gd name="T93" fmla="*/ 47 h 160"/>
                      <a:gd name="T94" fmla="*/ 49 w 224"/>
                      <a:gd name="T95" fmla="*/ 41 h 160"/>
                      <a:gd name="T96" fmla="*/ 42 w 224"/>
                      <a:gd name="T97" fmla="*/ 32 h 160"/>
                      <a:gd name="T98" fmla="*/ 29 w 224"/>
                      <a:gd name="T99" fmla="*/ 18 h 1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</a:cxnLst>
                    <a:rect l="0" t="0" r="r" b="b"/>
                    <a:pathLst>
                      <a:path w="224" h="160">
                        <a:moveTo>
                          <a:pt x="23" y="7"/>
                        </a:moveTo>
                        <a:cubicBezTo>
                          <a:pt x="23" y="6"/>
                          <a:pt x="23" y="6"/>
                          <a:pt x="23" y="6"/>
                        </a:cubicBezTo>
                        <a:cubicBezTo>
                          <a:pt x="24" y="6"/>
                          <a:pt x="25" y="5"/>
                          <a:pt x="26" y="5"/>
                        </a:cubicBezTo>
                        <a:cubicBezTo>
                          <a:pt x="28" y="4"/>
                          <a:pt x="30" y="4"/>
                          <a:pt x="33" y="3"/>
                        </a:cubicBezTo>
                        <a:cubicBezTo>
                          <a:pt x="36" y="3"/>
                          <a:pt x="35" y="3"/>
                          <a:pt x="36" y="1"/>
                        </a:cubicBezTo>
                        <a:cubicBezTo>
                          <a:pt x="38" y="0"/>
                          <a:pt x="38" y="2"/>
                          <a:pt x="40" y="2"/>
                        </a:cubicBezTo>
                        <a:cubicBezTo>
                          <a:pt x="41" y="3"/>
                          <a:pt x="42" y="2"/>
                          <a:pt x="43" y="3"/>
                        </a:cubicBezTo>
                        <a:cubicBezTo>
                          <a:pt x="44" y="3"/>
                          <a:pt x="44" y="5"/>
                          <a:pt x="45" y="6"/>
                        </a:cubicBezTo>
                        <a:cubicBezTo>
                          <a:pt x="48" y="10"/>
                          <a:pt x="56" y="8"/>
                          <a:pt x="60" y="9"/>
                        </a:cubicBezTo>
                        <a:cubicBezTo>
                          <a:pt x="60" y="11"/>
                          <a:pt x="61" y="13"/>
                          <a:pt x="62" y="14"/>
                        </a:cubicBezTo>
                        <a:cubicBezTo>
                          <a:pt x="62" y="16"/>
                          <a:pt x="62" y="17"/>
                          <a:pt x="61" y="19"/>
                        </a:cubicBezTo>
                        <a:cubicBezTo>
                          <a:pt x="60" y="22"/>
                          <a:pt x="58" y="25"/>
                          <a:pt x="63" y="26"/>
                        </a:cubicBezTo>
                        <a:cubicBezTo>
                          <a:pt x="66" y="27"/>
                          <a:pt x="70" y="25"/>
                          <a:pt x="73" y="27"/>
                        </a:cubicBezTo>
                        <a:cubicBezTo>
                          <a:pt x="75" y="28"/>
                          <a:pt x="78" y="29"/>
                          <a:pt x="79" y="32"/>
                        </a:cubicBezTo>
                        <a:cubicBezTo>
                          <a:pt x="80" y="32"/>
                          <a:pt x="83" y="32"/>
                          <a:pt x="84" y="32"/>
                        </a:cubicBezTo>
                        <a:cubicBezTo>
                          <a:pt x="86" y="33"/>
                          <a:pt x="85" y="35"/>
                          <a:pt x="86" y="37"/>
                        </a:cubicBezTo>
                        <a:cubicBezTo>
                          <a:pt x="87" y="38"/>
                          <a:pt x="89" y="38"/>
                          <a:pt x="91" y="38"/>
                        </a:cubicBezTo>
                        <a:cubicBezTo>
                          <a:pt x="94" y="38"/>
                          <a:pt x="94" y="37"/>
                          <a:pt x="96" y="36"/>
                        </a:cubicBezTo>
                        <a:cubicBezTo>
                          <a:pt x="96" y="35"/>
                          <a:pt x="100" y="33"/>
                          <a:pt x="101" y="33"/>
                        </a:cubicBezTo>
                        <a:cubicBezTo>
                          <a:pt x="103" y="32"/>
                          <a:pt x="106" y="32"/>
                          <a:pt x="108" y="32"/>
                        </a:cubicBezTo>
                        <a:cubicBezTo>
                          <a:pt x="108" y="36"/>
                          <a:pt x="107" y="40"/>
                          <a:pt x="107" y="43"/>
                        </a:cubicBezTo>
                        <a:cubicBezTo>
                          <a:pt x="109" y="43"/>
                          <a:pt x="110" y="44"/>
                          <a:pt x="111" y="44"/>
                        </a:cubicBezTo>
                        <a:cubicBezTo>
                          <a:pt x="112" y="45"/>
                          <a:pt x="113" y="47"/>
                          <a:pt x="114" y="47"/>
                        </a:cubicBezTo>
                        <a:cubicBezTo>
                          <a:pt x="114" y="47"/>
                          <a:pt x="116" y="45"/>
                          <a:pt x="117" y="45"/>
                        </a:cubicBezTo>
                        <a:cubicBezTo>
                          <a:pt x="118" y="44"/>
                          <a:pt x="118" y="44"/>
                          <a:pt x="119" y="43"/>
                        </a:cubicBezTo>
                        <a:cubicBezTo>
                          <a:pt x="121" y="42"/>
                          <a:pt x="120" y="42"/>
                          <a:pt x="122" y="42"/>
                        </a:cubicBezTo>
                        <a:cubicBezTo>
                          <a:pt x="124" y="42"/>
                          <a:pt x="125" y="43"/>
                          <a:pt x="126" y="44"/>
                        </a:cubicBezTo>
                        <a:cubicBezTo>
                          <a:pt x="128" y="45"/>
                          <a:pt x="130" y="45"/>
                          <a:pt x="133" y="44"/>
                        </a:cubicBezTo>
                        <a:cubicBezTo>
                          <a:pt x="133" y="43"/>
                          <a:pt x="137" y="45"/>
                          <a:pt x="139" y="46"/>
                        </a:cubicBezTo>
                        <a:cubicBezTo>
                          <a:pt x="140" y="46"/>
                          <a:pt x="141" y="46"/>
                          <a:pt x="142" y="46"/>
                        </a:cubicBezTo>
                        <a:cubicBezTo>
                          <a:pt x="143" y="46"/>
                          <a:pt x="143" y="47"/>
                          <a:pt x="144" y="47"/>
                        </a:cubicBezTo>
                        <a:cubicBezTo>
                          <a:pt x="145" y="48"/>
                          <a:pt x="148" y="49"/>
                          <a:pt x="149" y="50"/>
                        </a:cubicBezTo>
                        <a:cubicBezTo>
                          <a:pt x="150" y="51"/>
                          <a:pt x="151" y="53"/>
                          <a:pt x="153" y="53"/>
                        </a:cubicBezTo>
                        <a:cubicBezTo>
                          <a:pt x="153" y="53"/>
                          <a:pt x="154" y="52"/>
                          <a:pt x="154" y="52"/>
                        </a:cubicBezTo>
                        <a:cubicBezTo>
                          <a:pt x="158" y="52"/>
                          <a:pt x="159" y="51"/>
                          <a:pt x="162" y="49"/>
                        </a:cubicBezTo>
                        <a:cubicBezTo>
                          <a:pt x="162" y="48"/>
                          <a:pt x="162" y="48"/>
                          <a:pt x="163" y="47"/>
                        </a:cubicBezTo>
                        <a:cubicBezTo>
                          <a:pt x="164" y="47"/>
                          <a:pt x="165" y="47"/>
                          <a:pt x="165" y="47"/>
                        </a:cubicBezTo>
                        <a:cubicBezTo>
                          <a:pt x="167" y="46"/>
                          <a:pt x="166" y="44"/>
                          <a:pt x="168" y="44"/>
                        </a:cubicBezTo>
                        <a:cubicBezTo>
                          <a:pt x="169" y="46"/>
                          <a:pt x="169" y="50"/>
                          <a:pt x="169" y="53"/>
                        </a:cubicBezTo>
                        <a:cubicBezTo>
                          <a:pt x="171" y="53"/>
                          <a:pt x="173" y="52"/>
                          <a:pt x="174" y="53"/>
                        </a:cubicBezTo>
                        <a:cubicBezTo>
                          <a:pt x="174" y="54"/>
                          <a:pt x="174" y="54"/>
                          <a:pt x="174" y="54"/>
                        </a:cubicBezTo>
                        <a:cubicBezTo>
                          <a:pt x="177" y="54"/>
                          <a:pt x="178" y="57"/>
                          <a:pt x="179" y="56"/>
                        </a:cubicBezTo>
                        <a:cubicBezTo>
                          <a:pt x="181" y="55"/>
                          <a:pt x="180" y="52"/>
                          <a:pt x="183" y="52"/>
                        </a:cubicBezTo>
                        <a:cubicBezTo>
                          <a:pt x="186" y="51"/>
                          <a:pt x="188" y="54"/>
                          <a:pt x="191" y="53"/>
                        </a:cubicBezTo>
                        <a:cubicBezTo>
                          <a:pt x="192" y="53"/>
                          <a:pt x="193" y="52"/>
                          <a:pt x="194" y="52"/>
                        </a:cubicBezTo>
                        <a:cubicBezTo>
                          <a:pt x="194" y="52"/>
                          <a:pt x="202" y="50"/>
                          <a:pt x="202" y="51"/>
                        </a:cubicBezTo>
                        <a:cubicBezTo>
                          <a:pt x="202" y="50"/>
                          <a:pt x="203" y="50"/>
                          <a:pt x="203" y="49"/>
                        </a:cubicBezTo>
                        <a:cubicBezTo>
                          <a:pt x="205" y="50"/>
                          <a:pt x="208" y="55"/>
                          <a:pt x="209" y="54"/>
                        </a:cubicBezTo>
                        <a:cubicBezTo>
                          <a:pt x="210" y="53"/>
                          <a:pt x="211" y="51"/>
                          <a:pt x="211" y="50"/>
                        </a:cubicBezTo>
                        <a:cubicBezTo>
                          <a:pt x="212" y="48"/>
                          <a:pt x="211" y="46"/>
                          <a:pt x="213" y="45"/>
                        </a:cubicBezTo>
                        <a:cubicBezTo>
                          <a:pt x="212" y="45"/>
                          <a:pt x="213" y="46"/>
                          <a:pt x="213" y="46"/>
                        </a:cubicBezTo>
                        <a:cubicBezTo>
                          <a:pt x="216" y="47"/>
                          <a:pt x="217" y="46"/>
                          <a:pt x="217" y="42"/>
                        </a:cubicBezTo>
                        <a:cubicBezTo>
                          <a:pt x="217" y="42"/>
                          <a:pt x="217" y="41"/>
                          <a:pt x="217" y="40"/>
                        </a:cubicBezTo>
                        <a:cubicBezTo>
                          <a:pt x="217" y="40"/>
                          <a:pt x="217" y="40"/>
                          <a:pt x="217" y="40"/>
                        </a:cubicBezTo>
                        <a:cubicBezTo>
                          <a:pt x="221" y="44"/>
                          <a:pt x="221" y="44"/>
                          <a:pt x="221" y="44"/>
                        </a:cubicBezTo>
                        <a:cubicBezTo>
                          <a:pt x="221" y="45"/>
                          <a:pt x="220" y="46"/>
                          <a:pt x="220" y="47"/>
                        </a:cubicBezTo>
                        <a:cubicBezTo>
                          <a:pt x="220" y="51"/>
                          <a:pt x="224" y="55"/>
                          <a:pt x="221" y="58"/>
                        </a:cubicBezTo>
                        <a:cubicBezTo>
                          <a:pt x="220" y="59"/>
                          <a:pt x="219" y="60"/>
                          <a:pt x="217" y="61"/>
                        </a:cubicBezTo>
                        <a:cubicBezTo>
                          <a:pt x="216" y="61"/>
                          <a:pt x="215" y="63"/>
                          <a:pt x="214" y="64"/>
                        </a:cubicBezTo>
                        <a:cubicBezTo>
                          <a:pt x="214" y="65"/>
                          <a:pt x="212" y="65"/>
                          <a:pt x="211" y="66"/>
                        </a:cubicBezTo>
                        <a:cubicBezTo>
                          <a:pt x="210" y="67"/>
                          <a:pt x="210" y="69"/>
                          <a:pt x="209" y="70"/>
                        </a:cubicBezTo>
                        <a:cubicBezTo>
                          <a:pt x="208" y="70"/>
                          <a:pt x="206" y="70"/>
                          <a:pt x="205" y="70"/>
                        </a:cubicBezTo>
                        <a:cubicBezTo>
                          <a:pt x="205" y="73"/>
                          <a:pt x="202" y="76"/>
                          <a:pt x="203" y="79"/>
                        </a:cubicBezTo>
                        <a:cubicBezTo>
                          <a:pt x="204" y="81"/>
                          <a:pt x="207" y="81"/>
                          <a:pt x="207" y="83"/>
                        </a:cubicBezTo>
                        <a:cubicBezTo>
                          <a:pt x="214" y="84"/>
                          <a:pt x="215" y="91"/>
                          <a:pt x="215" y="96"/>
                        </a:cubicBezTo>
                        <a:cubicBezTo>
                          <a:pt x="213" y="96"/>
                          <a:pt x="212" y="94"/>
                          <a:pt x="210" y="94"/>
                        </a:cubicBezTo>
                        <a:cubicBezTo>
                          <a:pt x="207" y="95"/>
                          <a:pt x="207" y="97"/>
                          <a:pt x="207" y="99"/>
                        </a:cubicBezTo>
                        <a:cubicBezTo>
                          <a:pt x="205" y="99"/>
                          <a:pt x="204" y="99"/>
                          <a:pt x="202" y="99"/>
                        </a:cubicBezTo>
                        <a:cubicBezTo>
                          <a:pt x="202" y="101"/>
                          <a:pt x="205" y="108"/>
                          <a:pt x="207" y="108"/>
                        </a:cubicBezTo>
                        <a:cubicBezTo>
                          <a:pt x="206" y="110"/>
                          <a:pt x="203" y="111"/>
                          <a:pt x="203" y="113"/>
                        </a:cubicBezTo>
                        <a:cubicBezTo>
                          <a:pt x="204" y="114"/>
                          <a:pt x="204" y="114"/>
                          <a:pt x="204" y="114"/>
                        </a:cubicBezTo>
                        <a:cubicBezTo>
                          <a:pt x="203" y="114"/>
                          <a:pt x="203" y="114"/>
                          <a:pt x="203" y="114"/>
                        </a:cubicBezTo>
                        <a:cubicBezTo>
                          <a:pt x="201" y="114"/>
                          <a:pt x="200" y="112"/>
                          <a:pt x="198" y="111"/>
                        </a:cubicBezTo>
                        <a:cubicBezTo>
                          <a:pt x="196" y="109"/>
                          <a:pt x="192" y="108"/>
                          <a:pt x="189" y="108"/>
                        </a:cubicBezTo>
                        <a:cubicBezTo>
                          <a:pt x="189" y="112"/>
                          <a:pt x="189" y="112"/>
                          <a:pt x="189" y="112"/>
                        </a:cubicBezTo>
                        <a:cubicBezTo>
                          <a:pt x="187" y="112"/>
                          <a:pt x="188" y="113"/>
                          <a:pt x="188" y="115"/>
                        </a:cubicBezTo>
                        <a:cubicBezTo>
                          <a:pt x="185" y="115"/>
                          <a:pt x="183" y="114"/>
                          <a:pt x="180" y="115"/>
                        </a:cubicBezTo>
                        <a:cubicBezTo>
                          <a:pt x="179" y="117"/>
                          <a:pt x="179" y="122"/>
                          <a:pt x="175" y="122"/>
                        </a:cubicBezTo>
                        <a:cubicBezTo>
                          <a:pt x="170" y="123"/>
                          <a:pt x="174" y="129"/>
                          <a:pt x="172" y="132"/>
                        </a:cubicBezTo>
                        <a:cubicBezTo>
                          <a:pt x="171" y="134"/>
                          <a:pt x="169" y="133"/>
                          <a:pt x="169" y="136"/>
                        </a:cubicBezTo>
                        <a:cubicBezTo>
                          <a:pt x="169" y="138"/>
                          <a:pt x="169" y="141"/>
                          <a:pt x="168" y="143"/>
                        </a:cubicBezTo>
                        <a:cubicBezTo>
                          <a:pt x="167" y="144"/>
                          <a:pt x="165" y="144"/>
                          <a:pt x="164" y="144"/>
                        </a:cubicBezTo>
                        <a:cubicBezTo>
                          <a:pt x="162" y="145"/>
                          <a:pt x="164" y="146"/>
                          <a:pt x="163" y="148"/>
                        </a:cubicBezTo>
                        <a:cubicBezTo>
                          <a:pt x="161" y="149"/>
                          <a:pt x="159" y="145"/>
                          <a:pt x="157" y="145"/>
                        </a:cubicBezTo>
                        <a:cubicBezTo>
                          <a:pt x="157" y="147"/>
                          <a:pt x="153" y="149"/>
                          <a:pt x="151" y="149"/>
                        </a:cubicBezTo>
                        <a:cubicBezTo>
                          <a:pt x="151" y="147"/>
                          <a:pt x="150" y="144"/>
                          <a:pt x="148" y="146"/>
                        </a:cubicBezTo>
                        <a:cubicBezTo>
                          <a:pt x="147" y="146"/>
                          <a:pt x="148" y="147"/>
                          <a:pt x="147" y="148"/>
                        </a:cubicBezTo>
                        <a:cubicBezTo>
                          <a:pt x="146" y="149"/>
                          <a:pt x="145" y="149"/>
                          <a:pt x="145" y="150"/>
                        </a:cubicBezTo>
                        <a:cubicBezTo>
                          <a:pt x="144" y="152"/>
                          <a:pt x="145" y="158"/>
                          <a:pt x="140" y="157"/>
                        </a:cubicBezTo>
                        <a:cubicBezTo>
                          <a:pt x="140" y="154"/>
                          <a:pt x="137" y="156"/>
                          <a:pt x="136" y="155"/>
                        </a:cubicBezTo>
                        <a:cubicBezTo>
                          <a:pt x="135" y="154"/>
                          <a:pt x="136" y="151"/>
                          <a:pt x="136" y="150"/>
                        </a:cubicBezTo>
                        <a:cubicBezTo>
                          <a:pt x="136" y="144"/>
                          <a:pt x="132" y="149"/>
                          <a:pt x="129" y="148"/>
                        </a:cubicBezTo>
                        <a:cubicBezTo>
                          <a:pt x="128" y="146"/>
                          <a:pt x="130" y="143"/>
                          <a:pt x="128" y="141"/>
                        </a:cubicBezTo>
                        <a:cubicBezTo>
                          <a:pt x="127" y="140"/>
                          <a:pt x="125" y="140"/>
                          <a:pt x="125" y="138"/>
                        </a:cubicBezTo>
                        <a:cubicBezTo>
                          <a:pt x="125" y="137"/>
                          <a:pt x="125" y="138"/>
                          <a:pt x="124" y="137"/>
                        </a:cubicBezTo>
                        <a:cubicBezTo>
                          <a:pt x="123" y="137"/>
                          <a:pt x="115" y="140"/>
                          <a:pt x="115" y="136"/>
                        </a:cubicBezTo>
                        <a:cubicBezTo>
                          <a:pt x="114" y="136"/>
                          <a:pt x="111" y="135"/>
                          <a:pt x="110" y="136"/>
                        </a:cubicBezTo>
                        <a:cubicBezTo>
                          <a:pt x="108" y="137"/>
                          <a:pt x="110" y="139"/>
                          <a:pt x="109" y="140"/>
                        </a:cubicBezTo>
                        <a:cubicBezTo>
                          <a:pt x="109" y="141"/>
                          <a:pt x="107" y="141"/>
                          <a:pt x="107" y="143"/>
                        </a:cubicBezTo>
                        <a:cubicBezTo>
                          <a:pt x="107" y="144"/>
                          <a:pt x="107" y="144"/>
                          <a:pt x="107" y="145"/>
                        </a:cubicBezTo>
                        <a:cubicBezTo>
                          <a:pt x="107" y="146"/>
                          <a:pt x="106" y="146"/>
                          <a:pt x="105" y="147"/>
                        </a:cubicBezTo>
                        <a:cubicBezTo>
                          <a:pt x="103" y="147"/>
                          <a:pt x="103" y="147"/>
                          <a:pt x="102" y="148"/>
                        </a:cubicBezTo>
                        <a:cubicBezTo>
                          <a:pt x="102" y="149"/>
                          <a:pt x="101" y="150"/>
                          <a:pt x="100" y="150"/>
                        </a:cubicBezTo>
                        <a:cubicBezTo>
                          <a:pt x="97" y="151"/>
                          <a:pt x="93" y="150"/>
                          <a:pt x="89" y="152"/>
                        </a:cubicBezTo>
                        <a:cubicBezTo>
                          <a:pt x="90" y="156"/>
                          <a:pt x="85" y="155"/>
                          <a:pt x="83" y="155"/>
                        </a:cubicBezTo>
                        <a:cubicBezTo>
                          <a:pt x="81" y="156"/>
                          <a:pt x="81" y="157"/>
                          <a:pt x="80" y="158"/>
                        </a:cubicBezTo>
                        <a:cubicBezTo>
                          <a:pt x="79" y="158"/>
                          <a:pt x="77" y="157"/>
                          <a:pt x="76" y="157"/>
                        </a:cubicBezTo>
                        <a:cubicBezTo>
                          <a:pt x="73" y="155"/>
                          <a:pt x="73" y="150"/>
                          <a:pt x="70" y="151"/>
                        </a:cubicBezTo>
                        <a:cubicBezTo>
                          <a:pt x="67" y="151"/>
                          <a:pt x="67" y="153"/>
                          <a:pt x="66" y="155"/>
                        </a:cubicBezTo>
                        <a:cubicBezTo>
                          <a:pt x="65" y="156"/>
                          <a:pt x="63" y="156"/>
                          <a:pt x="61" y="156"/>
                        </a:cubicBezTo>
                        <a:cubicBezTo>
                          <a:pt x="61" y="157"/>
                          <a:pt x="61" y="159"/>
                          <a:pt x="60" y="160"/>
                        </a:cubicBezTo>
                        <a:cubicBezTo>
                          <a:pt x="57" y="160"/>
                          <a:pt x="50" y="160"/>
                          <a:pt x="50" y="156"/>
                        </a:cubicBezTo>
                        <a:cubicBezTo>
                          <a:pt x="49" y="153"/>
                          <a:pt x="50" y="148"/>
                          <a:pt x="46" y="149"/>
                        </a:cubicBezTo>
                        <a:cubicBezTo>
                          <a:pt x="44" y="150"/>
                          <a:pt x="40" y="154"/>
                          <a:pt x="38" y="151"/>
                        </a:cubicBezTo>
                        <a:cubicBezTo>
                          <a:pt x="37" y="148"/>
                          <a:pt x="36" y="145"/>
                          <a:pt x="32" y="145"/>
                        </a:cubicBezTo>
                        <a:cubicBezTo>
                          <a:pt x="32" y="150"/>
                          <a:pt x="29" y="149"/>
                          <a:pt x="24" y="149"/>
                        </a:cubicBezTo>
                        <a:cubicBezTo>
                          <a:pt x="19" y="149"/>
                          <a:pt x="13" y="150"/>
                          <a:pt x="8" y="147"/>
                        </a:cubicBezTo>
                        <a:cubicBezTo>
                          <a:pt x="7" y="146"/>
                          <a:pt x="6" y="146"/>
                          <a:pt x="4" y="145"/>
                        </a:cubicBezTo>
                        <a:cubicBezTo>
                          <a:pt x="7" y="145"/>
                          <a:pt x="10" y="144"/>
                          <a:pt x="10" y="140"/>
                        </a:cubicBezTo>
                        <a:cubicBezTo>
                          <a:pt x="10" y="137"/>
                          <a:pt x="8" y="135"/>
                          <a:pt x="5" y="133"/>
                        </a:cubicBezTo>
                        <a:cubicBezTo>
                          <a:pt x="2" y="131"/>
                          <a:pt x="3" y="127"/>
                          <a:pt x="2" y="124"/>
                        </a:cubicBezTo>
                        <a:cubicBezTo>
                          <a:pt x="0" y="121"/>
                          <a:pt x="0" y="118"/>
                          <a:pt x="2" y="114"/>
                        </a:cubicBezTo>
                        <a:cubicBezTo>
                          <a:pt x="3" y="112"/>
                          <a:pt x="4" y="109"/>
                          <a:pt x="7" y="108"/>
                        </a:cubicBezTo>
                        <a:cubicBezTo>
                          <a:pt x="11" y="108"/>
                          <a:pt x="12" y="106"/>
                          <a:pt x="16" y="104"/>
                        </a:cubicBezTo>
                        <a:cubicBezTo>
                          <a:pt x="18" y="103"/>
                          <a:pt x="22" y="103"/>
                          <a:pt x="23" y="100"/>
                        </a:cubicBezTo>
                        <a:cubicBezTo>
                          <a:pt x="25" y="98"/>
                          <a:pt x="26" y="94"/>
                          <a:pt x="29" y="94"/>
                        </a:cubicBezTo>
                        <a:cubicBezTo>
                          <a:pt x="30" y="93"/>
                          <a:pt x="32" y="93"/>
                          <a:pt x="33" y="92"/>
                        </a:cubicBezTo>
                        <a:cubicBezTo>
                          <a:pt x="35" y="91"/>
                          <a:pt x="35" y="90"/>
                          <a:pt x="35" y="88"/>
                        </a:cubicBezTo>
                        <a:cubicBezTo>
                          <a:pt x="36" y="85"/>
                          <a:pt x="41" y="86"/>
                          <a:pt x="41" y="89"/>
                        </a:cubicBezTo>
                        <a:cubicBezTo>
                          <a:pt x="43" y="90"/>
                          <a:pt x="44" y="88"/>
                          <a:pt x="45" y="87"/>
                        </a:cubicBezTo>
                        <a:cubicBezTo>
                          <a:pt x="48" y="85"/>
                          <a:pt x="51" y="88"/>
                          <a:pt x="54" y="88"/>
                        </a:cubicBezTo>
                        <a:cubicBezTo>
                          <a:pt x="60" y="89"/>
                          <a:pt x="60" y="83"/>
                          <a:pt x="55" y="81"/>
                        </a:cubicBezTo>
                        <a:cubicBezTo>
                          <a:pt x="50" y="80"/>
                          <a:pt x="47" y="77"/>
                          <a:pt x="43" y="75"/>
                        </a:cubicBezTo>
                        <a:cubicBezTo>
                          <a:pt x="41" y="74"/>
                          <a:pt x="40" y="74"/>
                          <a:pt x="39" y="73"/>
                        </a:cubicBezTo>
                        <a:cubicBezTo>
                          <a:pt x="38" y="72"/>
                          <a:pt x="38" y="71"/>
                          <a:pt x="38" y="69"/>
                        </a:cubicBezTo>
                        <a:cubicBezTo>
                          <a:pt x="36" y="66"/>
                          <a:pt x="33" y="65"/>
                          <a:pt x="31" y="62"/>
                        </a:cubicBezTo>
                        <a:cubicBezTo>
                          <a:pt x="34" y="62"/>
                          <a:pt x="37" y="61"/>
                          <a:pt x="39" y="60"/>
                        </a:cubicBezTo>
                        <a:cubicBezTo>
                          <a:pt x="40" y="59"/>
                          <a:pt x="39" y="57"/>
                          <a:pt x="39" y="55"/>
                        </a:cubicBezTo>
                        <a:cubicBezTo>
                          <a:pt x="38" y="54"/>
                          <a:pt x="37" y="54"/>
                          <a:pt x="35" y="54"/>
                        </a:cubicBezTo>
                        <a:cubicBezTo>
                          <a:pt x="33" y="53"/>
                          <a:pt x="31" y="52"/>
                          <a:pt x="29" y="52"/>
                        </a:cubicBezTo>
                        <a:cubicBezTo>
                          <a:pt x="27" y="49"/>
                          <a:pt x="28" y="47"/>
                          <a:pt x="31" y="47"/>
                        </a:cubicBezTo>
                        <a:cubicBezTo>
                          <a:pt x="35" y="46"/>
                          <a:pt x="33" y="45"/>
                          <a:pt x="36" y="44"/>
                        </a:cubicBezTo>
                        <a:cubicBezTo>
                          <a:pt x="40" y="43"/>
                          <a:pt x="44" y="44"/>
                          <a:pt x="47" y="44"/>
                        </a:cubicBezTo>
                        <a:cubicBezTo>
                          <a:pt x="49" y="44"/>
                          <a:pt x="50" y="43"/>
                          <a:pt x="49" y="41"/>
                        </a:cubicBezTo>
                        <a:cubicBezTo>
                          <a:pt x="48" y="40"/>
                          <a:pt x="46" y="40"/>
                          <a:pt x="45" y="40"/>
                        </a:cubicBezTo>
                        <a:cubicBezTo>
                          <a:pt x="45" y="39"/>
                          <a:pt x="44" y="38"/>
                          <a:pt x="43" y="38"/>
                        </a:cubicBezTo>
                        <a:cubicBezTo>
                          <a:pt x="42" y="36"/>
                          <a:pt x="42" y="34"/>
                          <a:pt x="42" y="32"/>
                        </a:cubicBezTo>
                        <a:cubicBezTo>
                          <a:pt x="40" y="32"/>
                          <a:pt x="37" y="33"/>
                          <a:pt x="34" y="31"/>
                        </a:cubicBezTo>
                        <a:cubicBezTo>
                          <a:pt x="32" y="29"/>
                          <a:pt x="34" y="26"/>
                          <a:pt x="33" y="23"/>
                        </a:cubicBezTo>
                        <a:cubicBezTo>
                          <a:pt x="32" y="20"/>
                          <a:pt x="28" y="21"/>
                          <a:pt x="29" y="18"/>
                        </a:cubicBezTo>
                        <a:cubicBezTo>
                          <a:pt x="30" y="15"/>
                          <a:pt x="26" y="13"/>
                          <a:pt x="27" y="10"/>
                        </a:cubicBezTo>
                        <a:cubicBezTo>
                          <a:pt x="24" y="10"/>
                          <a:pt x="23" y="8"/>
                          <a:pt x="23" y="7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0" name="Rectangle 292">
                    <a:extLst>
                      <a:ext uri="{FF2B5EF4-FFF2-40B4-BE49-F238E27FC236}">
                        <a16:creationId xmlns:a16="http://schemas.microsoft.com/office/drawing/2014/main" xmlns="" id="{C594FFCC-95AF-4F87-8AF7-6FDFDD4DF8A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322888" y="3794126"/>
                    <a:ext cx="1588" cy="1588"/>
                  </a:xfrm>
                  <a:prstGeom prst="rect">
                    <a:avLst/>
                  </a:pr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1" name="Freeform 293">
                    <a:extLst>
                      <a:ext uri="{FF2B5EF4-FFF2-40B4-BE49-F238E27FC236}">
                        <a16:creationId xmlns:a16="http://schemas.microsoft.com/office/drawing/2014/main" xmlns="" id="{4F83285B-78E6-403B-87B3-E6BF481363A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22888" y="3790951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2" name="Freeform 294">
                    <a:extLst>
                      <a:ext uri="{FF2B5EF4-FFF2-40B4-BE49-F238E27FC236}">
                        <a16:creationId xmlns:a16="http://schemas.microsoft.com/office/drawing/2014/main" xmlns="" id="{16775439-15CB-49E4-A5D9-F35EE8B3711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54513" y="3705226"/>
                    <a:ext cx="1057275" cy="809625"/>
                  </a:xfrm>
                  <a:custGeom>
                    <a:avLst/>
                    <a:gdLst>
                      <a:gd name="T0" fmla="*/ 278 w 299"/>
                      <a:gd name="T1" fmla="*/ 32 h 229"/>
                      <a:gd name="T2" fmla="*/ 259 w 299"/>
                      <a:gd name="T3" fmla="*/ 16 h 229"/>
                      <a:gd name="T4" fmla="*/ 232 w 299"/>
                      <a:gd name="T5" fmla="*/ 4 h 229"/>
                      <a:gd name="T6" fmla="*/ 224 w 299"/>
                      <a:gd name="T7" fmla="*/ 27 h 229"/>
                      <a:gd name="T8" fmla="*/ 198 w 299"/>
                      <a:gd name="T9" fmla="*/ 19 h 229"/>
                      <a:gd name="T10" fmla="*/ 184 w 299"/>
                      <a:gd name="T11" fmla="*/ 17 h 229"/>
                      <a:gd name="T12" fmla="*/ 160 w 299"/>
                      <a:gd name="T13" fmla="*/ 6 h 229"/>
                      <a:gd name="T14" fmla="*/ 132 w 299"/>
                      <a:gd name="T15" fmla="*/ 0 h 229"/>
                      <a:gd name="T16" fmla="*/ 113 w 299"/>
                      <a:gd name="T17" fmla="*/ 20 h 229"/>
                      <a:gd name="T18" fmla="*/ 106 w 299"/>
                      <a:gd name="T19" fmla="*/ 41 h 229"/>
                      <a:gd name="T20" fmla="*/ 94 w 299"/>
                      <a:gd name="T21" fmla="*/ 58 h 229"/>
                      <a:gd name="T22" fmla="*/ 81 w 299"/>
                      <a:gd name="T23" fmla="*/ 66 h 229"/>
                      <a:gd name="T24" fmla="*/ 55 w 299"/>
                      <a:gd name="T25" fmla="*/ 78 h 229"/>
                      <a:gd name="T26" fmla="*/ 54 w 299"/>
                      <a:gd name="T27" fmla="*/ 100 h 229"/>
                      <a:gd name="T28" fmla="*/ 67 w 299"/>
                      <a:gd name="T29" fmla="*/ 123 h 229"/>
                      <a:gd name="T30" fmla="*/ 52 w 299"/>
                      <a:gd name="T31" fmla="*/ 130 h 229"/>
                      <a:gd name="T32" fmla="*/ 28 w 299"/>
                      <a:gd name="T33" fmla="*/ 129 h 229"/>
                      <a:gd name="T34" fmla="*/ 37 w 299"/>
                      <a:gd name="T35" fmla="*/ 147 h 229"/>
                      <a:gd name="T36" fmla="*/ 40 w 299"/>
                      <a:gd name="T37" fmla="*/ 176 h 229"/>
                      <a:gd name="T38" fmla="*/ 30 w 299"/>
                      <a:gd name="T39" fmla="*/ 194 h 229"/>
                      <a:gd name="T40" fmla="*/ 13 w 299"/>
                      <a:gd name="T41" fmla="*/ 205 h 229"/>
                      <a:gd name="T42" fmla="*/ 0 w 299"/>
                      <a:gd name="T43" fmla="*/ 229 h 229"/>
                      <a:gd name="T44" fmla="*/ 20 w 299"/>
                      <a:gd name="T45" fmla="*/ 227 h 229"/>
                      <a:gd name="T46" fmla="*/ 42 w 299"/>
                      <a:gd name="T47" fmla="*/ 220 h 229"/>
                      <a:gd name="T48" fmla="*/ 51 w 299"/>
                      <a:gd name="T49" fmla="*/ 216 h 229"/>
                      <a:gd name="T50" fmla="*/ 51 w 299"/>
                      <a:gd name="T51" fmla="*/ 207 h 229"/>
                      <a:gd name="T52" fmla="*/ 62 w 299"/>
                      <a:gd name="T53" fmla="*/ 205 h 229"/>
                      <a:gd name="T54" fmla="*/ 75 w 299"/>
                      <a:gd name="T55" fmla="*/ 203 h 229"/>
                      <a:gd name="T56" fmla="*/ 86 w 299"/>
                      <a:gd name="T57" fmla="*/ 199 h 229"/>
                      <a:gd name="T58" fmla="*/ 86 w 299"/>
                      <a:gd name="T59" fmla="*/ 185 h 229"/>
                      <a:gd name="T60" fmla="*/ 100 w 299"/>
                      <a:gd name="T61" fmla="*/ 179 h 229"/>
                      <a:gd name="T62" fmla="*/ 107 w 299"/>
                      <a:gd name="T63" fmla="*/ 174 h 229"/>
                      <a:gd name="T64" fmla="*/ 117 w 299"/>
                      <a:gd name="T65" fmla="*/ 174 h 229"/>
                      <a:gd name="T66" fmla="*/ 136 w 299"/>
                      <a:gd name="T67" fmla="*/ 186 h 229"/>
                      <a:gd name="T68" fmla="*/ 148 w 299"/>
                      <a:gd name="T69" fmla="*/ 176 h 229"/>
                      <a:gd name="T70" fmla="*/ 159 w 299"/>
                      <a:gd name="T71" fmla="*/ 169 h 229"/>
                      <a:gd name="T72" fmla="*/ 165 w 299"/>
                      <a:gd name="T73" fmla="*/ 172 h 229"/>
                      <a:gd name="T74" fmla="*/ 183 w 299"/>
                      <a:gd name="T75" fmla="*/ 154 h 229"/>
                      <a:gd name="T76" fmla="*/ 190 w 299"/>
                      <a:gd name="T77" fmla="*/ 145 h 229"/>
                      <a:gd name="T78" fmla="*/ 184 w 299"/>
                      <a:gd name="T79" fmla="*/ 147 h 229"/>
                      <a:gd name="T80" fmla="*/ 193 w 299"/>
                      <a:gd name="T81" fmla="*/ 135 h 229"/>
                      <a:gd name="T82" fmla="*/ 193 w 299"/>
                      <a:gd name="T83" fmla="*/ 145 h 229"/>
                      <a:gd name="T84" fmla="*/ 218 w 299"/>
                      <a:gd name="T85" fmla="*/ 135 h 229"/>
                      <a:gd name="T86" fmla="*/ 255 w 299"/>
                      <a:gd name="T87" fmla="*/ 114 h 229"/>
                      <a:gd name="T88" fmla="*/ 267 w 299"/>
                      <a:gd name="T89" fmla="*/ 98 h 229"/>
                      <a:gd name="T90" fmla="*/ 270 w 299"/>
                      <a:gd name="T91" fmla="*/ 90 h 229"/>
                      <a:gd name="T92" fmla="*/ 269 w 299"/>
                      <a:gd name="T93" fmla="*/ 88 h 229"/>
                      <a:gd name="T94" fmla="*/ 271 w 299"/>
                      <a:gd name="T95" fmla="*/ 58 h 229"/>
                      <a:gd name="T96" fmla="*/ 294 w 299"/>
                      <a:gd name="T97" fmla="*/ 51 h 2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299" h="229">
                        <a:moveTo>
                          <a:pt x="293" y="38"/>
                        </a:moveTo>
                        <a:cubicBezTo>
                          <a:pt x="291" y="36"/>
                          <a:pt x="287" y="37"/>
                          <a:pt x="286" y="34"/>
                        </a:cubicBezTo>
                        <a:cubicBezTo>
                          <a:pt x="286" y="31"/>
                          <a:pt x="285" y="28"/>
                          <a:pt x="282" y="29"/>
                        </a:cubicBezTo>
                        <a:cubicBezTo>
                          <a:pt x="281" y="32"/>
                          <a:pt x="281" y="31"/>
                          <a:pt x="278" y="32"/>
                        </a:cubicBezTo>
                        <a:cubicBezTo>
                          <a:pt x="278" y="35"/>
                          <a:pt x="275" y="33"/>
                          <a:pt x="274" y="32"/>
                        </a:cubicBezTo>
                        <a:cubicBezTo>
                          <a:pt x="272" y="29"/>
                          <a:pt x="276" y="26"/>
                          <a:pt x="273" y="23"/>
                        </a:cubicBezTo>
                        <a:cubicBezTo>
                          <a:pt x="269" y="20"/>
                          <a:pt x="264" y="23"/>
                          <a:pt x="263" y="17"/>
                        </a:cubicBezTo>
                        <a:cubicBezTo>
                          <a:pt x="262" y="17"/>
                          <a:pt x="261" y="16"/>
                          <a:pt x="259" y="16"/>
                        </a:cubicBezTo>
                        <a:cubicBezTo>
                          <a:pt x="260" y="11"/>
                          <a:pt x="251" y="6"/>
                          <a:pt x="250" y="12"/>
                        </a:cubicBezTo>
                        <a:cubicBezTo>
                          <a:pt x="249" y="13"/>
                          <a:pt x="248" y="13"/>
                          <a:pt x="248" y="13"/>
                        </a:cubicBezTo>
                        <a:cubicBezTo>
                          <a:pt x="248" y="11"/>
                          <a:pt x="244" y="7"/>
                          <a:pt x="243" y="5"/>
                        </a:cubicBezTo>
                        <a:cubicBezTo>
                          <a:pt x="241" y="3"/>
                          <a:pt x="236" y="4"/>
                          <a:pt x="232" y="4"/>
                        </a:cubicBezTo>
                        <a:cubicBezTo>
                          <a:pt x="233" y="0"/>
                          <a:pt x="227" y="2"/>
                          <a:pt x="225" y="2"/>
                        </a:cubicBezTo>
                        <a:cubicBezTo>
                          <a:pt x="226" y="4"/>
                          <a:pt x="231" y="12"/>
                          <a:pt x="227" y="14"/>
                        </a:cubicBezTo>
                        <a:cubicBezTo>
                          <a:pt x="226" y="16"/>
                          <a:pt x="229" y="18"/>
                          <a:pt x="228" y="21"/>
                        </a:cubicBezTo>
                        <a:cubicBezTo>
                          <a:pt x="224" y="21"/>
                          <a:pt x="225" y="25"/>
                          <a:pt x="224" y="27"/>
                        </a:cubicBezTo>
                        <a:cubicBezTo>
                          <a:pt x="221" y="27"/>
                          <a:pt x="220" y="26"/>
                          <a:pt x="218" y="26"/>
                        </a:cubicBezTo>
                        <a:cubicBezTo>
                          <a:pt x="219" y="24"/>
                          <a:pt x="221" y="22"/>
                          <a:pt x="218" y="21"/>
                        </a:cubicBezTo>
                        <a:cubicBezTo>
                          <a:pt x="215" y="24"/>
                          <a:pt x="211" y="21"/>
                          <a:pt x="208" y="20"/>
                        </a:cubicBezTo>
                        <a:cubicBezTo>
                          <a:pt x="205" y="19"/>
                          <a:pt x="201" y="17"/>
                          <a:pt x="198" y="19"/>
                        </a:cubicBezTo>
                        <a:cubicBezTo>
                          <a:pt x="195" y="20"/>
                          <a:pt x="194" y="24"/>
                          <a:pt x="191" y="24"/>
                        </a:cubicBezTo>
                        <a:cubicBezTo>
                          <a:pt x="187" y="25"/>
                          <a:pt x="184" y="21"/>
                          <a:pt x="180" y="21"/>
                        </a:cubicBezTo>
                        <a:cubicBezTo>
                          <a:pt x="181" y="19"/>
                          <a:pt x="183" y="19"/>
                          <a:pt x="183" y="17"/>
                        </a:cubicBezTo>
                        <a:cubicBezTo>
                          <a:pt x="184" y="17"/>
                          <a:pt x="184" y="17"/>
                          <a:pt x="184" y="17"/>
                        </a:cubicBezTo>
                        <a:cubicBezTo>
                          <a:pt x="185" y="12"/>
                          <a:pt x="185" y="7"/>
                          <a:pt x="185" y="2"/>
                        </a:cubicBezTo>
                        <a:cubicBezTo>
                          <a:pt x="182" y="1"/>
                          <a:pt x="180" y="4"/>
                          <a:pt x="178" y="4"/>
                        </a:cubicBezTo>
                        <a:cubicBezTo>
                          <a:pt x="175" y="5"/>
                          <a:pt x="173" y="6"/>
                          <a:pt x="170" y="6"/>
                        </a:cubicBezTo>
                        <a:cubicBezTo>
                          <a:pt x="167" y="7"/>
                          <a:pt x="163" y="5"/>
                          <a:pt x="160" y="6"/>
                        </a:cubicBezTo>
                        <a:cubicBezTo>
                          <a:pt x="158" y="6"/>
                          <a:pt x="157" y="8"/>
                          <a:pt x="155" y="8"/>
                        </a:cubicBezTo>
                        <a:cubicBezTo>
                          <a:pt x="151" y="10"/>
                          <a:pt x="143" y="9"/>
                          <a:pt x="140" y="6"/>
                        </a:cubicBezTo>
                        <a:cubicBezTo>
                          <a:pt x="139" y="5"/>
                          <a:pt x="139" y="3"/>
                          <a:pt x="137" y="1"/>
                        </a:cubicBezTo>
                        <a:cubicBezTo>
                          <a:pt x="136" y="0"/>
                          <a:pt x="134" y="0"/>
                          <a:pt x="132" y="0"/>
                        </a:cubicBezTo>
                        <a:cubicBezTo>
                          <a:pt x="133" y="1"/>
                          <a:pt x="133" y="1"/>
                          <a:pt x="133" y="1"/>
                        </a:cubicBezTo>
                        <a:cubicBezTo>
                          <a:pt x="133" y="6"/>
                          <a:pt x="134" y="8"/>
                          <a:pt x="128" y="9"/>
                        </a:cubicBezTo>
                        <a:cubicBezTo>
                          <a:pt x="125" y="10"/>
                          <a:pt x="120" y="13"/>
                          <a:pt x="117" y="15"/>
                        </a:cubicBezTo>
                        <a:cubicBezTo>
                          <a:pt x="116" y="16"/>
                          <a:pt x="113" y="18"/>
                          <a:pt x="113" y="20"/>
                        </a:cubicBezTo>
                        <a:cubicBezTo>
                          <a:pt x="113" y="23"/>
                          <a:pt x="111" y="21"/>
                          <a:pt x="110" y="23"/>
                        </a:cubicBezTo>
                        <a:cubicBezTo>
                          <a:pt x="108" y="27"/>
                          <a:pt x="112" y="28"/>
                          <a:pt x="113" y="31"/>
                        </a:cubicBezTo>
                        <a:cubicBezTo>
                          <a:pt x="110" y="33"/>
                          <a:pt x="108" y="34"/>
                          <a:pt x="107" y="38"/>
                        </a:cubicBezTo>
                        <a:cubicBezTo>
                          <a:pt x="105" y="38"/>
                          <a:pt x="106" y="40"/>
                          <a:pt x="106" y="41"/>
                        </a:cubicBezTo>
                        <a:cubicBezTo>
                          <a:pt x="106" y="43"/>
                          <a:pt x="103" y="43"/>
                          <a:pt x="102" y="44"/>
                        </a:cubicBezTo>
                        <a:cubicBezTo>
                          <a:pt x="101" y="46"/>
                          <a:pt x="101" y="50"/>
                          <a:pt x="101" y="52"/>
                        </a:cubicBezTo>
                        <a:cubicBezTo>
                          <a:pt x="101" y="54"/>
                          <a:pt x="104" y="55"/>
                          <a:pt x="103" y="57"/>
                        </a:cubicBezTo>
                        <a:cubicBezTo>
                          <a:pt x="101" y="57"/>
                          <a:pt x="96" y="56"/>
                          <a:pt x="94" y="58"/>
                        </a:cubicBezTo>
                        <a:cubicBezTo>
                          <a:pt x="94" y="60"/>
                          <a:pt x="94" y="62"/>
                          <a:pt x="94" y="63"/>
                        </a:cubicBezTo>
                        <a:cubicBezTo>
                          <a:pt x="93" y="65"/>
                          <a:pt x="92" y="66"/>
                          <a:pt x="92" y="68"/>
                        </a:cubicBezTo>
                        <a:cubicBezTo>
                          <a:pt x="90" y="68"/>
                          <a:pt x="88" y="68"/>
                          <a:pt x="87" y="67"/>
                        </a:cubicBezTo>
                        <a:cubicBezTo>
                          <a:pt x="85" y="65"/>
                          <a:pt x="82" y="66"/>
                          <a:pt x="81" y="66"/>
                        </a:cubicBezTo>
                        <a:cubicBezTo>
                          <a:pt x="75" y="66"/>
                          <a:pt x="70" y="65"/>
                          <a:pt x="65" y="65"/>
                        </a:cubicBezTo>
                        <a:cubicBezTo>
                          <a:pt x="65" y="70"/>
                          <a:pt x="63" y="74"/>
                          <a:pt x="61" y="77"/>
                        </a:cubicBezTo>
                        <a:cubicBezTo>
                          <a:pt x="61" y="79"/>
                          <a:pt x="60" y="81"/>
                          <a:pt x="58" y="82"/>
                        </a:cubicBezTo>
                        <a:cubicBezTo>
                          <a:pt x="56" y="82"/>
                          <a:pt x="55" y="80"/>
                          <a:pt x="55" y="78"/>
                        </a:cubicBezTo>
                        <a:cubicBezTo>
                          <a:pt x="54" y="78"/>
                          <a:pt x="53" y="77"/>
                          <a:pt x="52" y="77"/>
                        </a:cubicBezTo>
                        <a:cubicBezTo>
                          <a:pt x="52" y="83"/>
                          <a:pt x="52" y="88"/>
                          <a:pt x="52" y="93"/>
                        </a:cubicBezTo>
                        <a:cubicBezTo>
                          <a:pt x="52" y="94"/>
                          <a:pt x="52" y="96"/>
                          <a:pt x="52" y="98"/>
                        </a:cubicBezTo>
                        <a:cubicBezTo>
                          <a:pt x="52" y="100"/>
                          <a:pt x="54" y="99"/>
                          <a:pt x="54" y="100"/>
                        </a:cubicBezTo>
                        <a:cubicBezTo>
                          <a:pt x="57" y="104"/>
                          <a:pt x="55" y="109"/>
                          <a:pt x="54" y="113"/>
                        </a:cubicBezTo>
                        <a:cubicBezTo>
                          <a:pt x="54" y="115"/>
                          <a:pt x="53" y="118"/>
                          <a:pt x="53" y="120"/>
                        </a:cubicBezTo>
                        <a:cubicBezTo>
                          <a:pt x="54" y="123"/>
                          <a:pt x="58" y="123"/>
                          <a:pt x="60" y="123"/>
                        </a:cubicBezTo>
                        <a:cubicBezTo>
                          <a:pt x="61" y="123"/>
                          <a:pt x="67" y="123"/>
                          <a:pt x="67" y="123"/>
                        </a:cubicBezTo>
                        <a:cubicBezTo>
                          <a:pt x="69" y="125"/>
                          <a:pt x="68" y="128"/>
                          <a:pt x="67" y="131"/>
                        </a:cubicBezTo>
                        <a:cubicBezTo>
                          <a:pt x="66" y="132"/>
                          <a:pt x="65" y="134"/>
                          <a:pt x="62" y="133"/>
                        </a:cubicBezTo>
                        <a:cubicBezTo>
                          <a:pt x="62" y="132"/>
                          <a:pt x="63" y="130"/>
                          <a:pt x="62" y="128"/>
                        </a:cubicBezTo>
                        <a:cubicBezTo>
                          <a:pt x="60" y="127"/>
                          <a:pt x="52" y="126"/>
                          <a:pt x="52" y="130"/>
                        </a:cubicBezTo>
                        <a:cubicBezTo>
                          <a:pt x="48" y="131"/>
                          <a:pt x="50" y="125"/>
                          <a:pt x="50" y="123"/>
                        </a:cubicBezTo>
                        <a:cubicBezTo>
                          <a:pt x="46" y="120"/>
                          <a:pt x="40" y="121"/>
                          <a:pt x="35" y="120"/>
                        </a:cubicBezTo>
                        <a:cubicBezTo>
                          <a:pt x="35" y="117"/>
                          <a:pt x="31" y="118"/>
                          <a:pt x="29" y="118"/>
                        </a:cubicBezTo>
                        <a:cubicBezTo>
                          <a:pt x="29" y="122"/>
                          <a:pt x="26" y="125"/>
                          <a:pt x="28" y="129"/>
                        </a:cubicBezTo>
                        <a:cubicBezTo>
                          <a:pt x="29" y="130"/>
                          <a:pt x="31" y="129"/>
                          <a:pt x="32" y="129"/>
                        </a:cubicBezTo>
                        <a:cubicBezTo>
                          <a:pt x="32" y="133"/>
                          <a:pt x="36" y="131"/>
                          <a:pt x="37" y="134"/>
                        </a:cubicBezTo>
                        <a:cubicBezTo>
                          <a:pt x="39" y="138"/>
                          <a:pt x="34" y="142"/>
                          <a:pt x="34" y="147"/>
                        </a:cubicBezTo>
                        <a:cubicBezTo>
                          <a:pt x="35" y="146"/>
                          <a:pt x="37" y="147"/>
                          <a:pt x="37" y="147"/>
                        </a:cubicBezTo>
                        <a:cubicBezTo>
                          <a:pt x="38" y="149"/>
                          <a:pt x="40" y="149"/>
                          <a:pt x="41" y="151"/>
                        </a:cubicBezTo>
                        <a:cubicBezTo>
                          <a:pt x="42" y="153"/>
                          <a:pt x="41" y="156"/>
                          <a:pt x="41" y="159"/>
                        </a:cubicBezTo>
                        <a:cubicBezTo>
                          <a:pt x="41" y="164"/>
                          <a:pt x="44" y="170"/>
                          <a:pt x="43" y="176"/>
                        </a:cubicBezTo>
                        <a:cubicBezTo>
                          <a:pt x="42" y="176"/>
                          <a:pt x="41" y="176"/>
                          <a:pt x="40" y="176"/>
                        </a:cubicBezTo>
                        <a:cubicBezTo>
                          <a:pt x="40" y="178"/>
                          <a:pt x="40" y="182"/>
                          <a:pt x="38" y="183"/>
                        </a:cubicBezTo>
                        <a:cubicBezTo>
                          <a:pt x="36" y="185"/>
                          <a:pt x="33" y="184"/>
                          <a:pt x="33" y="187"/>
                        </a:cubicBezTo>
                        <a:cubicBezTo>
                          <a:pt x="31" y="187"/>
                          <a:pt x="28" y="187"/>
                          <a:pt x="27" y="187"/>
                        </a:cubicBezTo>
                        <a:cubicBezTo>
                          <a:pt x="30" y="189"/>
                          <a:pt x="30" y="190"/>
                          <a:pt x="30" y="194"/>
                        </a:cubicBezTo>
                        <a:cubicBezTo>
                          <a:pt x="28" y="194"/>
                          <a:pt x="27" y="194"/>
                          <a:pt x="25" y="194"/>
                        </a:cubicBezTo>
                        <a:cubicBezTo>
                          <a:pt x="23" y="197"/>
                          <a:pt x="22" y="202"/>
                          <a:pt x="19" y="204"/>
                        </a:cubicBezTo>
                        <a:cubicBezTo>
                          <a:pt x="18" y="205"/>
                          <a:pt x="16" y="204"/>
                          <a:pt x="15" y="204"/>
                        </a:cubicBezTo>
                        <a:cubicBezTo>
                          <a:pt x="14" y="204"/>
                          <a:pt x="14" y="205"/>
                          <a:pt x="13" y="205"/>
                        </a:cubicBezTo>
                        <a:cubicBezTo>
                          <a:pt x="11" y="207"/>
                          <a:pt x="10" y="208"/>
                          <a:pt x="8" y="209"/>
                        </a:cubicBezTo>
                        <a:cubicBezTo>
                          <a:pt x="7" y="212"/>
                          <a:pt x="7" y="216"/>
                          <a:pt x="5" y="219"/>
                        </a:cubicBezTo>
                        <a:cubicBezTo>
                          <a:pt x="3" y="222"/>
                          <a:pt x="1" y="224"/>
                          <a:pt x="0" y="227"/>
                        </a:cubicBezTo>
                        <a:cubicBezTo>
                          <a:pt x="0" y="228"/>
                          <a:pt x="0" y="229"/>
                          <a:pt x="0" y="229"/>
                        </a:cubicBezTo>
                        <a:cubicBezTo>
                          <a:pt x="0" y="229"/>
                          <a:pt x="0" y="229"/>
                          <a:pt x="0" y="229"/>
                        </a:cubicBezTo>
                        <a:cubicBezTo>
                          <a:pt x="3" y="229"/>
                          <a:pt x="7" y="228"/>
                          <a:pt x="10" y="229"/>
                        </a:cubicBezTo>
                        <a:cubicBezTo>
                          <a:pt x="12" y="229"/>
                          <a:pt x="13" y="228"/>
                          <a:pt x="16" y="227"/>
                        </a:cubicBezTo>
                        <a:cubicBezTo>
                          <a:pt x="17" y="227"/>
                          <a:pt x="19" y="228"/>
                          <a:pt x="20" y="227"/>
                        </a:cubicBezTo>
                        <a:cubicBezTo>
                          <a:pt x="21" y="227"/>
                          <a:pt x="22" y="227"/>
                          <a:pt x="23" y="226"/>
                        </a:cubicBezTo>
                        <a:cubicBezTo>
                          <a:pt x="24" y="222"/>
                          <a:pt x="26" y="223"/>
                          <a:pt x="29" y="223"/>
                        </a:cubicBezTo>
                        <a:cubicBezTo>
                          <a:pt x="33" y="222"/>
                          <a:pt x="33" y="218"/>
                          <a:pt x="37" y="218"/>
                        </a:cubicBezTo>
                        <a:cubicBezTo>
                          <a:pt x="39" y="219"/>
                          <a:pt x="41" y="218"/>
                          <a:pt x="42" y="220"/>
                        </a:cubicBezTo>
                        <a:cubicBezTo>
                          <a:pt x="42" y="221"/>
                          <a:pt x="42" y="223"/>
                          <a:pt x="44" y="223"/>
                        </a:cubicBezTo>
                        <a:cubicBezTo>
                          <a:pt x="46" y="223"/>
                          <a:pt x="46" y="221"/>
                          <a:pt x="47" y="220"/>
                        </a:cubicBezTo>
                        <a:cubicBezTo>
                          <a:pt x="47" y="218"/>
                          <a:pt x="48" y="219"/>
                          <a:pt x="49" y="219"/>
                        </a:cubicBezTo>
                        <a:cubicBezTo>
                          <a:pt x="50" y="217"/>
                          <a:pt x="49" y="215"/>
                          <a:pt x="51" y="216"/>
                        </a:cubicBezTo>
                        <a:cubicBezTo>
                          <a:pt x="51" y="215"/>
                          <a:pt x="51" y="214"/>
                          <a:pt x="51" y="214"/>
                        </a:cubicBezTo>
                        <a:cubicBezTo>
                          <a:pt x="50" y="214"/>
                          <a:pt x="50" y="213"/>
                          <a:pt x="49" y="213"/>
                        </a:cubicBezTo>
                        <a:cubicBezTo>
                          <a:pt x="49" y="212"/>
                          <a:pt x="48" y="209"/>
                          <a:pt x="50" y="209"/>
                        </a:cubicBezTo>
                        <a:cubicBezTo>
                          <a:pt x="51" y="208"/>
                          <a:pt x="52" y="208"/>
                          <a:pt x="51" y="207"/>
                        </a:cubicBezTo>
                        <a:cubicBezTo>
                          <a:pt x="51" y="207"/>
                          <a:pt x="51" y="207"/>
                          <a:pt x="51" y="207"/>
                        </a:cubicBezTo>
                        <a:cubicBezTo>
                          <a:pt x="51" y="205"/>
                          <a:pt x="50" y="203"/>
                          <a:pt x="50" y="201"/>
                        </a:cubicBezTo>
                        <a:cubicBezTo>
                          <a:pt x="53" y="200"/>
                          <a:pt x="54" y="199"/>
                          <a:pt x="56" y="197"/>
                        </a:cubicBezTo>
                        <a:cubicBezTo>
                          <a:pt x="59" y="198"/>
                          <a:pt x="61" y="202"/>
                          <a:pt x="62" y="205"/>
                        </a:cubicBezTo>
                        <a:cubicBezTo>
                          <a:pt x="64" y="206"/>
                          <a:pt x="61" y="207"/>
                          <a:pt x="60" y="208"/>
                        </a:cubicBezTo>
                        <a:cubicBezTo>
                          <a:pt x="62" y="214"/>
                          <a:pt x="68" y="205"/>
                          <a:pt x="70" y="205"/>
                        </a:cubicBezTo>
                        <a:cubicBezTo>
                          <a:pt x="71" y="204"/>
                          <a:pt x="71" y="203"/>
                          <a:pt x="71" y="202"/>
                        </a:cubicBezTo>
                        <a:cubicBezTo>
                          <a:pt x="72" y="201"/>
                          <a:pt x="74" y="202"/>
                          <a:pt x="75" y="203"/>
                        </a:cubicBezTo>
                        <a:cubicBezTo>
                          <a:pt x="76" y="204"/>
                          <a:pt x="77" y="206"/>
                          <a:pt x="78" y="206"/>
                        </a:cubicBezTo>
                        <a:cubicBezTo>
                          <a:pt x="80" y="206"/>
                          <a:pt x="81" y="203"/>
                          <a:pt x="84" y="203"/>
                        </a:cubicBezTo>
                        <a:cubicBezTo>
                          <a:pt x="84" y="202"/>
                          <a:pt x="84" y="202"/>
                          <a:pt x="83" y="202"/>
                        </a:cubicBezTo>
                        <a:cubicBezTo>
                          <a:pt x="83" y="200"/>
                          <a:pt x="83" y="198"/>
                          <a:pt x="86" y="199"/>
                        </a:cubicBezTo>
                        <a:cubicBezTo>
                          <a:pt x="86" y="198"/>
                          <a:pt x="86" y="197"/>
                          <a:pt x="84" y="197"/>
                        </a:cubicBezTo>
                        <a:cubicBezTo>
                          <a:pt x="84" y="195"/>
                          <a:pt x="81" y="195"/>
                          <a:pt x="82" y="193"/>
                        </a:cubicBezTo>
                        <a:cubicBezTo>
                          <a:pt x="82" y="191"/>
                          <a:pt x="83" y="190"/>
                          <a:pt x="84" y="190"/>
                        </a:cubicBezTo>
                        <a:cubicBezTo>
                          <a:pt x="87" y="189"/>
                          <a:pt x="85" y="185"/>
                          <a:pt x="86" y="185"/>
                        </a:cubicBezTo>
                        <a:cubicBezTo>
                          <a:pt x="88" y="185"/>
                          <a:pt x="89" y="185"/>
                          <a:pt x="91" y="185"/>
                        </a:cubicBezTo>
                        <a:cubicBezTo>
                          <a:pt x="93" y="185"/>
                          <a:pt x="95" y="185"/>
                          <a:pt x="96" y="184"/>
                        </a:cubicBezTo>
                        <a:cubicBezTo>
                          <a:pt x="98" y="183"/>
                          <a:pt x="99" y="179"/>
                          <a:pt x="101" y="179"/>
                        </a:cubicBezTo>
                        <a:cubicBezTo>
                          <a:pt x="100" y="179"/>
                          <a:pt x="100" y="179"/>
                          <a:pt x="100" y="179"/>
                        </a:cubicBezTo>
                        <a:cubicBezTo>
                          <a:pt x="100" y="178"/>
                          <a:pt x="95" y="177"/>
                          <a:pt x="97" y="175"/>
                        </a:cubicBezTo>
                        <a:cubicBezTo>
                          <a:pt x="100" y="172"/>
                          <a:pt x="101" y="176"/>
                          <a:pt x="103" y="177"/>
                        </a:cubicBezTo>
                        <a:cubicBezTo>
                          <a:pt x="103" y="175"/>
                          <a:pt x="104" y="172"/>
                          <a:pt x="105" y="171"/>
                        </a:cubicBezTo>
                        <a:cubicBezTo>
                          <a:pt x="106" y="171"/>
                          <a:pt x="106" y="173"/>
                          <a:pt x="107" y="174"/>
                        </a:cubicBezTo>
                        <a:cubicBezTo>
                          <a:pt x="107" y="173"/>
                          <a:pt x="107" y="173"/>
                          <a:pt x="108" y="172"/>
                        </a:cubicBezTo>
                        <a:cubicBezTo>
                          <a:pt x="111" y="175"/>
                          <a:pt x="111" y="169"/>
                          <a:pt x="111" y="167"/>
                        </a:cubicBezTo>
                        <a:cubicBezTo>
                          <a:pt x="112" y="167"/>
                          <a:pt x="112" y="167"/>
                          <a:pt x="112" y="168"/>
                        </a:cubicBezTo>
                        <a:cubicBezTo>
                          <a:pt x="112" y="170"/>
                          <a:pt x="114" y="175"/>
                          <a:pt x="117" y="174"/>
                        </a:cubicBezTo>
                        <a:cubicBezTo>
                          <a:pt x="117" y="173"/>
                          <a:pt x="118" y="173"/>
                          <a:pt x="119" y="173"/>
                        </a:cubicBezTo>
                        <a:cubicBezTo>
                          <a:pt x="120" y="176"/>
                          <a:pt x="122" y="178"/>
                          <a:pt x="123" y="181"/>
                        </a:cubicBezTo>
                        <a:cubicBezTo>
                          <a:pt x="123" y="184"/>
                          <a:pt x="126" y="183"/>
                          <a:pt x="128" y="183"/>
                        </a:cubicBezTo>
                        <a:cubicBezTo>
                          <a:pt x="131" y="183"/>
                          <a:pt x="133" y="184"/>
                          <a:pt x="136" y="186"/>
                        </a:cubicBezTo>
                        <a:cubicBezTo>
                          <a:pt x="138" y="186"/>
                          <a:pt x="141" y="186"/>
                          <a:pt x="144" y="186"/>
                        </a:cubicBezTo>
                        <a:cubicBezTo>
                          <a:pt x="144" y="185"/>
                          <a:pt x="144" y="185"/>
                          <a:pt x="144" y="184"/>
                        </a:cubicBezTo>
                        <a:cubicBezTo>
                          <a:pt x="148" y="184"/>
                          <a:pt x="147" y="180"/>
                          <a:pt x="151" y="180"/>
                        </a:cubicBezTo>
                        <a:cubicBezTo>
                          <a:pt x="150" y="180"/>
                          <a:pt x="148" y="177"/>
                          <a:pt x="148" y="176"/>
                        </a:cubicBezTo>
                        <a:cubicBezTo>
                          <a:pt x="149" y="175"/>
                          <a:pt x="150" y="176"/>
                          <a:pt x="151" y="176"/>
                        </a:cubicBezTo>
                        <a:cubicBezTo>
                          <a:pt x="152" y="176"/>
                          <a:pt x="152" y="175"/>
                          <a:pt x="153" y="174"/>
                        </a:cubicBezTo>
                        <a:cubicBezTo>
                          <a:pt x="154" y="173"/>
                          <a:pt x="161" y="174"/>
                          <a:pt x="160" y="171"/>
                        </a:cubicBezTo>
                        <a:cubicBezTo>
                          <a:pt x="159" y="171"/>
                          <a:pt x="158" y="170"/>
                          <a:pt x="159" y="169"/>
                        </a:cubicBezTo>
                        <a:cubicBezTo>
                          <a:pt x="160" y="168"/>
                          <a:pt x="161" y="168"/>
                          <a:pt x="164" y="168"/>
                        </a:cubicBezTo>
                        <a:cubicBezTo>
                          <a:pt x="164" y="170"/>
                          <a:pt x="163" y="172"/>
                          <a:pt x="165" y="173"/>
                        </a:cubicBezTo>
                        <a:cubicBezTo>
                          <a:pt x="165" y="173"/>
                          <a:pt x="165" y="174"/>
                          <a:pt x="165" y="174"/>
                        </a:cubicBezTo>
                        <a:cubicBezTo>
                          <a:pt x="165" y="173"/>
                          <a:pt x="165" y="173"/>
                          <a:pt x="165" y="172"/>
                        </a:cubicBezTo>
                        <a:cubicBezTo>
                          <a:pt x="167" y="170"/>
                          <a:pt x="169" y="169"/>
                          <a:pt x="171" y="166"/>
                        </a:cubicBezTo>
                        <a:cubicBezTo>
                          <a:pt x="172" y="165"/>
                          <a:pt x="172" y="164"/>
                          <a:pt x="173" y="162"/>
                        </a:cubicBezTo>
                        <a:cubicBezTo>
                          <a:pt x="174" y="161"/>
                          <a:pt x="175" y="158"/>
                          <a:pt x="177" y="157"/>
                        </a:cubicBezTo>
                        <a:cubicBezTo>
                          <a:pt x="178" y="155"/>
                          <a:pt x="181" y="155"/>
                          <a:pt x="183" y="154"/>
                        </a:cubicBezTo>
                        <a:cubicBezTo>
                          <a:pt x="185" y="152"/>
                          <a:pt x="184" y="151"/>
                          <a:pt x="187" y="150"/>
                        </a:cubicBezTo>
                        <a:cubicBezTo>
                          <a:pt x="189" y="149"/>
                          <a:pt x="190" y="147"/>
                          <a:pt x="192" y="147"/>
                        </a:cubicBezTo>
                        <a:cubicBezTo>
                          <a:pt x="192" y="146"/>
                          <a:pt x="192" y="146"/>
                          <a:pt x="192" y="145"/>
                        </a:cubicBezTo>
                        <a:cubicBezTo>
                          <a:pt x="191" y="145"/>
                          <a:pt x="191" y="145"/>
                          <a:pt x="190" y="145"/>
                        </a:cubicBezTo>
                        <a:cubicBezTo>
                          <a:pt x="189" y="146"/>
                          <a:pt x="188" y="146"/>
                          <a:pt x="186" y="146"/>
                        </a:cubicBezTo>
                        <a:cubicBezTo>
                          <a:pt x="187" y="145"/>
                          <a:pt x="189" y="144"/>
                          <a:pt x="190" y="143"/>
                        </a:cubicBezTo>
                        <a:cubicBezTo>
                          <a:pt x="189" y="143"/>
                          <a:pt x="188" y="142"/>
                          <a:pt x="187" y="142"/>
                        </a:cubicBezTo>
                        <a:cubicBezTo>
                          <a:pt x="187" y="144"/>
                          <a:pt x="186" y="146"/>
                          <a:pt x="184" y="147"/>
                        </a:cubicBezTo>
                        <a:cubicBezTo>
                          <a:pt x="184" y="148"/>
                          <a:pt x="183" y="148"/>
                          <a:pt x="182" y="148"/>
                        </a:cubicBezTo>
                        <a:cubicBezTo>
                          <a:pt x="183" y="147"/>
                          <a:pt x="183" y="143"/>
                          <a:pt x="183" y="142"/>
                        </a:cubicBezTo>
                        <a:cubicBezTo>
                          <a:pt x="184" y="141"/>
                          <a:pt x="186" y="139"/>
                          <a:pt x="186" y="138"/>
                        </a:cubicBezTo>
                        <a:cubicBezTo>
                          <a:pt x="188" y="137"/>
                          <a:pt x="191" y="136"/>
                          <a:pt x="193" y="135"/>
                        </a:cubicBezTo>
                        <a:cubicBezTo>
                          <a:pt x="196" y="133"/>
                          <a:pt x="200" y="130"/>
                          <a:pt x="202" y="133"/>
                        </a:cubicBezTo>
                        <a:cubicBezTo>
                          <a:pt x="204" y="136"/>
                          <a:pt x="201" y="138"/>
                          <a:pt x="200" y="139"/>
                        </a:cubicBezTo>
                        <a:cubicBezTo>
                          <a:pt x="199" y="140"/>
                          <a:pt x="193" y="143"/>
                          <a:pt x="193" y="142"/>
                        </a:cubicBezTo>
                        <a:cubicBezTo>
                          <a:pt x="193" y="143"/>
                          <a:pt x="193" y="144"/>
                          <a:pt x="193" y="145"/>
                        </a:cubicBezTo>
                        <a:cubicBezTo>
                          <a:pt x="194" y="146"/>
                          <a:pt x="194" y="144"/>
                          <a:pt x="195" y="144"/>
                        </a:cubicBezTo>
                        <a:cubicBezTo>
                          <a:pt x="196" y="143"/>
                          <a:pt x="198" y="143"/>
                          <a:pt x="199" y="142"/>
                        </a:cubicBezTo>
                        <a:cubicBezTo>
                          <a:pt x="201" y="142"/>
                          <a:pt x="204" y="142"/>
                          <a:pt x="206" y="141"/>
                        </a:cubicBezTo>
                        <a:cubicBezTo>
                          <a:pt x="210" y="139"/>
                          <a:pt x="214" y="137"/>
                          <a:pt x="218" y="135"/>
                        </a:cubicBezTo>
                        <a:cubicBezTo>
                          <a:pt x="223" y="133"/>
                          <a:pt x="228" y="134"/>
                          <a:pt x="233" y="132"/>
                        </a:cubicBezTo>
                        <a:cubicBezTo>
                          <a:pt x="236" y="130"/>
                          <a:pt x="241" y="129"/>
                          <a:pt x="242" y="125"/>
                        </a:cubicBezTo>
                        <a:cubicBezTo>
                          <a:pt x="243" y="123"/>
                          <a:pt x="243" y="120"/>
                          <a:pt x="246" y="120"/>
                        </a:cubicBezTo>
                        <a:cubicBezTo>
                          <a:pt x="246" y="117"/>
                          <a:pt x="253" y="115"/>
                          <a:pt x="255" y="114"/>
                        </a:cubicBezTo>
                        <a:cubicBezTo>
                          <a:pt x="256" y="113"/>
                          <a:pt x="259" y="113"/>
                          <a:pt x="260" y="112"/>
                        </a:cubicBezTo>
                        <a:cubicBezTo>
                          <a:pt x="261" y="111"/>
                          <a:pt x="261" y="108"/>
                          <a:pt x="261" y="106"/>
                        </a:cubicBezTo>
                        <a:cubicBezTo>
                          <a:pt x="260" y="106"/>
                          <a:pt x="259" y="106"/>
                          <a:pt x="258" y="106"/>
                        </a:cubicBezTo>
                        <a:cubicBezTo>
                          <a:pt x="258" y="102"/>
                          <a:pt x="263" y="100"/>
                          <a:pt x="267" y="98"/>
                        </a:cubicBezTo>
                        <a:cubicBezTo>
                          <a:pt x="270" y="96"/>
                          <a:pt x="273" y="92"/>
                          <a:pt x="275" y="89"/>
                        </a:cubicBezTo>
                        <a:cubicBezTo>
                          <a:pt x="274" y="88"/>
                          <a:pt x="274" y="88"/>
                          <a:pt x="273" y="88"/>
                        </a:cubicBezTo>
                        <a:cubicBezTo>
                          <a:pt x="272" y="89"/>
                          <a:pt x="273" y="89"/>
                          <a:pt x="272" y="90"/>
                        </a:cubicBezTo>
                        <a:cubicBezTo>
                          <a:pt x="272" y="90"/>
                          <a:pt x="271" y="90"/>
                          <a:pt x="270" y="90"/>
                        </a:cubicBezTo>
                        <a:cubicBezTo>
                          <a:pt x="270" y="90"/>
                          <a:pt x="269" y="91"/>
                          <a:pt x="269" y="91"/>
                        </a:cubicBezTo>
                        <a:cubicBezTo>
                          <a:pt x="268" y="92"/>
                          <a:pt x="267" y="91"/>
                          <a:pt x="265" y="92"/>
                        </a:cubicBezTo>
                        <a:cubicBezTo>
                          <a:pt x="264" y="92"/>
                          <a:pt x="264" y="93"/>
                          <a:pt x="263" y="93"/>
                        </a:cubicBezTo>
                        <a:cubicBezTo>
                          <a:pt x="263" y="89"/>
                          <a:pt x="264" y="88"/>
                          <a:pt x="269" y="88"/>
                        </a:cubicBezTo>
                        <a:cubicBezTo>
                          <a:pt x="274" y="88"/>
                          <a:pt x="270" y="83"/>
                          <a:pt x="269" y="81"/>
                        </a:cubicBezTo>
                        <a:cubicBezTo>
                          <a:pt x="267" y="78"/>
                          <a:pt x="266" y="75"/>
                          <a:pt x="265" y="73"/>
                        </a:cubicBezTo>
                        <a:cubicBezTo>
                          <a:pt x="265" y="71"/>
                          <a:pt x="265" y="64"/>
                          <a:pt x="267" y="63"/>
                        </a:cubicBezTo>
                        <a:cubicBezTo>
                          <a:pt x="267" y="61"/>
                          <a:pt x="269" y="59"/>
                          <a:pt x="271" y="58"/>
                        </a:cubicBezTo>
                        <a:cubicBezTo>
                          <a:pt x="273" y="56"/>
                          <a:pt x="275" y="54"/>
                          <a:pt x="277" y="53"/>
                        </a:cubicBezTo>
                        <a:cubicBezTo>
                          <a:pt x="279" y="52"/>
                          <a:pt x="282" y="50"/>
                          <a:pt x="285" y="50"/>
                        </a:cubicBezTo>
                        <a:cubicBezTo>
                          <a:pt x="286" y="50"/>
                          <a:pt x="287" y="50"/>
                          <a:pt x="289" y="50"/>
                        </a:cubicBezTo>
                        <a:cubicBezTo>
                          <a:pt x="291" y="50"/>
                          <a:pt x="292" y="51"/>
                          <a:pt x="294" y="51"/>
                        </a:cubicBezTo>
                        <a:cubicBezTo>
                          <a:pt x="294" y="51"/>
                          <a:pt x="296" y="47"/>
                          <a:pt x="297" y="47"/>
                        </a:cubicBezTo>
                        <a:cubicBezTo>
                          <a:pt x="298" y="46"/>
                          <a:pt x="298" y="46"/>
                          <a:pt x="298" y="46"/>
                        </a:cubicBezTo>
                        <a:cubicBezTo>
                          <a:pt x="299" y="41"/>
                          <a:pt x="296" y="41"/>
                          <a:pt x="293" y="38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3" name="Freeform 295">
                    <a:extLst>
                      <a:ext uri="{FF2B5EF4-FFF2-40B4-BE49-F238E27FC236}">
                        <a16:creationId xmlns:a16="http://schemas.microsoft.com/office/drawing/2014/main" xmlns="" id="{A892C025-4B57-45DA-BC75-BFB9C8C4E23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33951" y="4324351"/>
                    <a:ext cx="4763" cy="0"/>
                  </a:xfrm>
                  <a:custGeom>
                    <a:avLst/>
                    <a:gdLst>
                      <a:gd name="T0" fmla="*/ 3 w 3"/>
                      <a:gd name="T1" fmla="*/ 0 w 3"/>
                      <a:gd name="T2" fmla="*/ 3 w 3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3">
                        <a:moveTo>
                          <a:pt x="3" y="0"/>
                        </a:moveTo>
                        <a:lnTo>
                          <a:pt x="0" y="0"/>
                        </a:lnTo>
                        <a:lnTo>
                          <a:pt x="3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4" name="Freeform 296">
                    <a:extLst>
                      <a:ext uri="{FF2B5EF4-FFF2-40B4-BE49-F238E27FC236}">
                        <a16:creationId xmlns:a16="http://schemas.microsoft.com/office/drawing/2014/main" xmlns="" id="{58C09706-82BC-446C-86F4-61D565DA4D4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32263" y="5392738"/>
                    <a:ext cx="0" cy="3175"/>
                  </a:xfrm>
                  <a:custGeom>
                    <a:avLst/>
                    <a:gdLst>
                      <a:gd name="T0" fmla="*/ 0 h 2"/>
                      <a:gd name="T1" fmla="*/ 2 h 2"/>
                      <a:gd name="T2" fmla="*/ 0 h 2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2">
                        <a:moveTo>
                          <a:pt x="0" y="0"/>
                        </a:moveTo>
                        <a:lnTo>
                          <a:pt x="0" y="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5" name="Freeform 297">
                    <a:extLst>
                      <a:ext uri="{FF2B5EF4-FFF2-40B4-BE49-F238E27FC236}">
                        <a16:creationId xmlns:a16="http://schemas.microsoft.com/office/drawing/2014/main" xmlns="" id="{D471D8FE-E388-4C75-85A3-6E4FD10C14E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59176" y="6156326"/>
                    <a:ext cx="0" cy="3175"/>
                  </a:xfrm>
                  <a:custGeom>
                    <a:avLst/>
                    <a:gdLst>
                      <a:gd name="T0" fmla="*/ 2 h 2"/>
                      <a:gd name="T1" fmla="*/ 0 h 2"/>
                      <a:gd name="T2" fmla="*/ 2 h 2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2">
                        <a:moveTo>
                          <a:pt x="0" y="2"/>
                        </a:moveTo>
                        <a:lnTo>
                          <a:pt x="0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6" name="Freeform 298">
                    <a:extLst>
                      <a:ext uri="{FF2B5EF4-FFF2-40B4-BE49-F238E27FC236}">
                        <a16:creationId xmlns:a16="http://schemas.microsoft.com/office/drawing/2014/main" xmlns="" id="{2E7440D4-BA2E-4C8E-8492-1A4E8F9C8D8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41713" y="6138863"/>
                    <a:ext cx="3175" cy="6350"/>
                  </a:xfrm>
                  <a:custGeom>
                    <a:avLst/>
                    <a:gdLst>
                      <a:gd name="T0" fmla="*/ 1 w 1"/>
                      <a:gd name="T1" fmla="*/ 2 h 2"/>
                      <a:gd name="T2" fmla="*/ 0 w 1"/>
                      <a:gd name="T3" fmla="*/ 0 h 2"/>
                      <a:gd name="T4" fmla="*/ 1 w 1"/>
                      <a:gd name="T5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" h="2">
                        <a:moveTo>
                          <a:pt x="1" y="2"/>
                        </a:moveTo>
                        <a:cubicBezTo>
                          <a:pt x="1" y="2"/>
                          <a:pt x="1" y="1"/>
                          <a:pt x="0" y="0"/>
                        </a:cubicBezTo>
                        <a:cubicBezTo>
                          <a:pt x="1" y="1"/>
                          <a:pt x="1" y="2"/>
                          <a:pt x="1" y="2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7" name="Freeform 299">
                    <a:extLst>
                      <a:ext uri="{FF2B5EF4-FFF2-40B4-BE49-F238E27FC236}">
                        <a16:creationId xmlns:a16="http://schemas.microsoft.com/office/drawing/2014/main" xmlns="" id="{6B9A6874-1FFC-43AA-8D84-4637A4A937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46451" y="5675313"/>
                    <a:ext cx="0" cy="3175"/>
                  </a:xfrm>
                  <a:custGeom>
                    <a:avLst/>
                    <a:gdLst>
                      <a:gd name="T0" fmla="*/ 0 h 1"/>
                      <a:gd name="T1" fmla="*/ 1 h 1"/>
                      <a:gd name="T2" fmla="*/ 1 h 1"/>
                      <a:gd name="T3" fmla="*/ 0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  <a:cxn ang="0">
                        <a:pos x="0" y="T3"/>
                      </a:cxn>
                    </a:cxnLst>
                    <a:rect l="0" t="0" r="r" b="b"/>
                    <a:pathLst>
                      <a:path h="1">
                        <a:moveTo>
                          <a:pt x="0" y="0"/>
                        </a:moveTo>
                        <a:cubicBezTo>
                          <a:pt x="0" y="0"/>
                          <a:pt x="0" y="1"/>
                          <a:pt x="0" y="1"/>
                        </a:cubicBezTo>
                        <a:cubicBezTo>
                          <a:pt x="0" y="1"/>
                          <a:pt x="0" y="1"/>
                          <a:pt x="0" y="1"/>
                        </a:cubicBezTo>
                        <a:cubicBezTo>
                          <a:pt x="0" y="1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8" name="Rectangle 300">
                    <a:extLst>
                      <a:ext uri="{FF2B5EF4-FFF2-40B4-BE49-F238E27FC236}">
                        <a16:creationId xmlns:a16="http://schemas.microsoft.com/office/drawing/2014/main" xmlns="" id="{C3D05FB5-2583-442B-92DA-057081CF77F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498851" y="5637213"/>
                    <a:ext cx="1588" cy="1588"/>
                  </a:xfrm>
                  <a:prstGeom prst="rect">
                    <a:avLst/>
                  </a:pr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49" name="Freeform 301">
                    <a:extLst>
                      <a:ext uri="{FF2B5EF4-FFF2-40B4-BE49-F238E27FC236}">
                        <a16:creationId xmlns:a16="http://schemas.microsoft.com/office/drawing/2014/main" xmlns="" id="{72B2A6BA-DCD4-4F98-BBA7-3E23EA09D2A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84526" y="5338763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0" name="Freeform 302">
                    <a:extLst>
                      <a:ext uri="{FF2B5EF4-FFF2-40B4-BE49-F238E27FC236}">
                        <a16:creationId xmlns:a16="http://schemas.microsoft.com/office/drawing/2014/main" xmlns="" id="{130A2650-F763-438B-A346-8C099416AC9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8851" y="5632451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1" name="Freeform 303">
                    <a:extLst>
                      <a:ext uri="{FF2B5EF4-FFF2-40B4-BE49-F238E27FC236}">
                        <a16:creationId xmlns:a16="http://schemas.microsoft.com/office/drawing/2014/main" xmlns="" id="{8C52E68E-1C3F-437E-AF5D-5DE9245C734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49588" y="4387851"/>
                    <a:ext cx="795338" cy="1171575"/>
                  </a:xfrm>
                  <a:custGeom>
                    <a:avLst/>
                    <a:gdLst>
                      <a:gd name="T0" fmla="*/ 214 w 225"/>
                      <a:gd name="T1" fmla="*/ 235 h 331"/>
                      <a:gd name="T2" fmla="*/ 201 w 225"/>
                      <a:gd name="T3" fmla="*/ 231 h 331"/>
                      <a:gd name="T4" fmla="*/ 196 w 225"/>
                      <a:gd name="T5" fmla="*/ 216 h 331"/>
                      <a:gd name="T6" fmla="*/ 188 w 225"/>
                      <a:gd name="T7" fmla="*/ 220 h 331"/>
                      <a:gd name="T8" fmla="*/ 171 w 225"/>
                      <a:gd name="T9" fmla="*/ 227 h 331"/>
                      <a:gd name="T10" fmla="*/ 154 w 225"/>
                      <a:gd name="T11" fmla="*/ 223 h 331"/>
                      <a:gd name="T12" fmla="*/ 147 w 225"/>
                      <a:gd name="T13" fmla="*/ 206 h 331"/>
                      <a:gd name="T14" fmla="*/ 158 w 225"/>
                      <a:gd name="T15" fmla="*/ 212 h 331"/>
                      <a:gd name="T16" fmla="*/ 171 w 225"/>
                      <a:gd name="T17" fmla="*/ 201 h 331"/>
                      <a:gd name="T18" fmla="*/ 164 w 225"/>
                      <a:gd name="T19" fmla="*/ 196 h 331"/>
                      <a:gd name="T20" fmla="*/ 147 w 225"/>
                      <a:gd name="T21" fmla="*/ 201 h 331"/>
                      <a:gd name="T22" fmla="*/ 148 w 225"/>
                      <a:gd name="T23" fmla="*/ 191 h 331"/>
                      <a:gd name="T24" fmla="*/ 140 w 225"/>
                      <a:gd name="T25" fmla="*/ 175 h 331"/>
                      <a:gd name="T26" fmla="*/ 146 w 225"/>
                      <a:gd name="T27" fmla="*/ 163 h 331"/>
                      <a:gd name="T28" fmla="*/ 157 w 225"/>
                      <a:gd name="T29" fmla="*/ 151 h 331"/>
                      <a:gd name="T30" fmla="*/ 156 w 225"/>
                      <a:gd name="T31" fmla="*/ 125 h 331"/>
                      <a:gd name="T32" fmla="*/ 177 w 225"/>
                      <a:gd name="T33" fmla="*/ 99 h 331"/>
                      <a:gd name="T34" fmla="*/ 177 w 225"/>
                      <a:gd name="T35" fmla="*/ 86 h 331"/>
                      <a:gd name="T36" fmla="*/ 178 w 225"/>
                      <a:gd name="T37" fmla="*/ 62 h 331"/>
                      <a:gd name="T38" fmla="*/ 180 w 225"/>
                      <a:gd name="T39" fmla="*/ 42 h 331"/>
                      <a:gd name="T40" fmla="*/ 194 w 225"/>
                      <a:gd name="T41" fmla="*/ 18 h 331"/>
                      <a:gd name="T42" fmla="*/ 187 w 225"/>
                      <a:gd name="T43" fmla="*/ 7 h 331"/>
                      <a:gd name="T44" fmla="*/ 162 w 225"/>
                      <a:gd name="T45" fmla="*/ 15 h 331"/>
                      <a:gd name="T46" fmla="*/ 151 w 225"/>
                      <a:gd name="T47" fmla="*/ 20 h 331"/>
                      <a:gd name="T48" fmla="*/ 139 w 225"/>
                      <a:gd name="T49" fmla="*/ 29 h 331"/>
                      <a:gd name="T50" fmla="*/ 128 w 225"/>
                      <a:gd name="T51" fmla="*/ 41 h 331"/>
                      <a:gd name="T52" fmla="*/ 115 w 225"/>
                      <a:gd name="T53" fmla="*/ 46 h 331"/>
                      <a:gd name="T54" fmla="*/ 91 w 225"/>
                      <a:gd name="T55" fmla="*/ 44 h 331"/>
                      <a:gd name="T56" fmla="*/ 86 w 225"/>
                      <a:gd name="T57" fmla="*/ 61 h 331"/>
                      <a:gd name="T58" fmla="*/ 54 w 225"/>
                      <a:gd name="T59" fmla="*/ 63 h 331"/>
                      <a:gd name="T60" fmla="*/ 40 w 225"/>
                      <a:gd name="T61" fmla="*/ 79 h 331"/>
                      <a:gd name="T62" fmla="*/ 22 w 225"/>
                      <a:gd name="T63" fmla="*/ 82 h 331"/>
                      <a:gd name="T64" fmla="*/ 28 w 225"/>
                      <a:gd name="T65" fmla="*/ 103 h 331"/>
                      <a:gd name="T66" fmla="*/ 17 w 225"/>
                      <a:gd name="T67" fmla="*/ 116 h 331"/>
                      <a:gd name="T68" fmla="*/ 16 w 225"/>
                      <a:gd name="T69" fmla="*/ 131 h 331"/>
                      <a:gd name="T70" fmla="*/ 16 w 225"/>
                      <a:gd name="T71" fmla="*/ 148 h 331"/>
                      <a:gd name="T72" fmla="*/ 9 w 225"/>
                      <a:gd name="T73" fmla="*/ 158 h 331"/>
                      <a:gd name="T74" fmla="*/ 3 w 225"/>
                      <a:gd name="T75" fmla="*/ 166 h 331"/>
                      <a:gd name="T76" fmla="*/ 14 w 225"/>
                      <a:gd name="T77" fmla="*/ 175 h 331"/>
                      <a:gd name="T78" fmla="*/ 19 w 225"/>
                      <a:gd name="T79" fmla="*/ 190 h 331"/>
                      <a:gd name="T80" fmla="*/ 26 w 225"/>
                      <a:gd name="T81" fmla="*/ 209 h 331"/>
                      <a:gd name="T82" fmla="*/ 29 w 225"/>
                      <a:gd name="T83" fmla="*/ 231 h 331"/>
                      <a:gd name="T84" fmla="*/ 32 w 225"/>
                      <a:gd name="T85" fmla="*/ 245 h 331"/>
                      <a:gd name="T86" fmla="*/ 38 w 225"/>
                      <a:gd name="T87" fmla="*/ 268 h 331"/>
                      <a:gd name="T88" fmla="*/ 48 w 225"/>
                      <a:gd name="T89" fmla="*/ 274 h 331"/>
                      <a:gd name="T90" fmla="*/ 58 w 225"/>
                      <a:gd name="T91" fmla="*/ 276 h 331"/>
                      <a:gd name="T92" fmla="*/ 62 w 225"/>
                      <a:gd name="T93" fmla="*/ 286 h 331"/>
                      <a:gd name="T94" fmla="*/ 84 w 225"/>
                      <a:gd name="T95" fmla="*/ 306 h 331"/>
                      <a:gd name="T96" fmla="*/ 103 w 225"/>
                      <a:gd name="T97" fmla="*/ 316 h 331"/>
                      <a:gd name="T98" fmla="*/ 115 w 225"/>
                      <a:gd name="T99" fmla="*/ 326 h 331"/>
                      <a:gd name="T100" fmla="*/ 130 w 225"/>
                      <a:gd name="T101" fmla="*/ 330 h 331"/>
                      <a:gd name="T102" fmla="*/ 149 w 225"/>
                      <a:gd name="T103" fmla="*/ 322 h 331"/>
                      <a:gd name="T104" fmla="*/ 179 w 225"/>
                      <a:gd name="T105" fmla="*/ 312 h 331"/>
                      <a:gd name="T106" fmla="*/ 175 w 225"/>
                      <a:gd name="T107" fmla="*/ 288 h 331"/>
                      <a:gd name="T108" fmla="*/ 193 w 225"/>
                      <a:gd name="T109" fmla="*/ 272 h 331"/>
                      <a:gd name="T110" fmla="*/ 209 w 225"/>
                      <a:gd name="T111" fmla="*/ 271 h 331"/>
                      <a:gd name="T112" fmla="*/ 222 w 225"/>
                      <a:gd name="T113" fmla="*/ 260 h 3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225" h="331">
                        <a:moveTo>
                          <a:pt x="224" y="249"/>
                        </a:moveTo>
                        <a:cubicBezTo>
                          <a:pt x="221" y="247"/>
                          <a:pt x="218" y="248"/>
                          <a:pt x="215" y="248"/>
                        </a:cubicBezTo>
                        <a:cubicBezTo>
                          <a:pt x="215" y="247"/>
                          <a:pt x="215" y="246"/>
                          <a:pt x="214" y="245"/>
                        </a:cubicBezTo>
                        <a:cubicBezTo>
                          <a:pt x="214" y="244"/>
                          <a:pt x="214" y="242"/>
                          <a:pt x="214" y="241"/>
                        </a:cubicBezTo>
                        <a:cubicBezTo>
                          <a:pt x="214" y="240"/>
                          <a:pt x="216" y="236"/>
                          <a:pt x="214" y="235"/>
                        </a:cubicBezTo>
                        <a:cubicBezTo>
                          <a:pt x="213" y="234"/>
                          <a:pt x="206" y="234"/>
                          <a:pt x="206" y="236"/>
                        </a:cubicBezTo>
                        <a:cubicBezTo>
                          <a:pt x="205" y="236"/>
                          <a:pt x="205" y="236"/>
                          <a:pt x="205" y="236"/>
                        </a:cubicBezTo>
                        <a:cubicBezTo>
                          <a:pt x="205" y="235"/>
                          <a:pt x="206" y="233"/>
                          <a:pt x="205" y="232"/>
                        </a:cubicBezTo>
                        <a:cubicBezTo>
                          <a:pt x="205" y="232"/>
                          <a:pt x="204" y="231"/>
                          <a:pt x="204" y="231"/>
                        </a:cubicBezTo>
                        <a:cubicBezTo>
                          <a:pt x="203" y="231"/>
                          <a:pt x="202" y="232"/>
                          <a:pt x="201" y="231"/>
                        </a:cubicBezTo>
                        <a:cubicBezTo>
                          <a:pt x="199" y="230"/>
                          <a:pt x="201" y="229"/>
                          <a:pt x="202" y="230"/>
                        </a:cubicBezTo>
                        <a:cubicBezTo>
                          <a:pt x="202" y="228"/>
                          <a:pt x="204" y="222"/>
                          <a:pt x="201" y="221"/>
                        </a:cubicBezTo>
                        <a:cubicBezTo>
                          <a:pt x="200" y="220"/>
                          <a:pt x="196" y="220"/>
                          <a:pt x="196" y="222"/>
                        </a:cubicBezTo>
                        <a:cubicBezTo>
                          <a:pt x="196" y="222"/>
                          <a:pt x="195" y="222"/>
                          <a:pt x="195" y="222"/>
                        </a:cubicBezTo>
                        <a:cubicBezTo>
                          <a:pt x="195" y="220"/>
                          <a:pt x="196" y="219"/>
                          <a:pt x="196" y="216"/>
                        </a:cubicBezTo>
                        <a:cubicBezTo>
                          <a:pt x="196" y="216"/>
                          <a:pt x="195" y="216"/>
                          <a:pt x="195" y="216"/>
                        </a:cubicBezTo>
                        <a:cubicBezTo>
                          <a:pt x="194" y="217"/>
                          <a:pt x="195" y="218"/>
                          <a:pt x="194" y="218"/>
                        </a:cubicBezTo>
                        <a:cubicBezTo>
                          <a:pt x="194" y="218"/>
                          <a:pt x="193" y="218"/>
                          <a:pt x="193" y="218"/>
                        </a:cubicBezTo>
                        <a:cubicBezTo>
                          <a:pt x="193" y="216"/>
                          <a:pt x="189" y="217"/>
                          <a:pt x="187" y="217"/>
                        </a:cubicBezTo>
                        <a:cubicBezTo>
                          <a:pt x="188" y="218"/>
                          <a:pt x="188" y="219"/>
                          <a:pt x="188" y="220"/>
                        </a:cubicBezTo>
                        <a:cubicBezTo>
                          <a:pt x="186" y="220"/>
                          <a:pt x="185" y="221"/>
                          <a:pt x="184" y="223"/>
                        </a:cubicBezTo>
                        <a:cubicBezTo>
                          <a:pt x="183" y="224"/>
                          <a:pt x="181" y="224"/>
                          <a:pt x="180" y="224"/>
                        </a:cubicBezTo>
                        <a:cubicBezTo>
                          <a:pt x="180" y="225"/>
                          <a:pt x="180" y="225"/>
                          <a:pt x="180" y="225"/>
                        </a:cubicBezTo>
                        <a:cubicBezTo>
                          <a:pt x="177" y="225"/>
                          <a:pt x="174" y="224"/>
                          <a:pt x="172" y="224"/>
                        </a:cubicBezTo>
                        <a:cubicBezTo>
                          <a:pt x="172" y="225"/>
                          <a:pt x="172" y="226"/>
                          <a:pt x="171" y="227"/>
                        </a:cubicBezTo>
                        <a:cubicBezTo>
                          <a:pt x="171" y="225"/>
                          <a:pt x="171" y="225"/>
                          <a:pt x="171" y="225"/>
                        </a:cubicBezTo>
                        <a:cubicBezTo>
                          <a:pt x="167" y="225"/>
                          <a:pt x="168" y="222"/>
                          <a:pt x="168" y="220"/>
                        </a:cubicBezTo>
                        <a:cubicBezTo>
                          <a:pt x="166" y="220"/>
                          <a:pt x="161" y="220"/>
                          <a:pt x="159" y="218"/>
                        </a:cubicBezTo>
                        <a:cubicBezTo>
                          <a:pt x="158" y="217"/>
                          <a:pt x="157" y="215"/>
                          <a:pt x="155" y="216"/>
                        </a:cubicBezTo>
                        <a:cubicBezTo>
                          <a:pt x="154" y="217"/>
                          <a:pt x="155" y="223"/>
                          <a:pt x="154" y="223"/>
                        </a:cubicBezTo>
                        <a:cubicBezTo>
                          <a:pt x="152" y="223"/>
                          <a:pt x="149" y="223"/>
                          <a:pt x="147" y="222"/>
                        </a:cubicBezTo>
                        <a:cubicBezTo>
                          <a:pt x="147" y="221"/>
                          <a:pt x="148" y="219"/>
                          <a:pt x="148" y="217"/>
                        </a:cubicBezTo>
                        <a:cubicBezTo>
                          <a:pt x="152" y="217"/>
                          <a:pt x="152" y="214"/>
                          <a:pt x="150" y="212"/>
                        </a:cubicBezTo>
                        <a:cubicBezTo>
                          <a:pt x="149" y="211"/>
                          <a:pt x="148" y="211"/>
                          <a:pt x="147" y="210"/>
                        </a:cubicBezTo>
                        <a:cubicBezTo>
                          <a:pt x="146" y="209"/>
                          <a:pt x="147" y="208"/>
                          <a:pt x="147" y="206"/>
                        </a:cubicBezTo>
                        <a:cubicBezTo>
                          <a:pt x="146" y="206"/>
                          <a:pt x="144" y="205"/>
                          <a:pt x="143" y="205"/>
                        </a:cubicBezTo>
                        <a:cubicBezTo>
                          <a:pt x="143" y="204"/>
                          <a:pt x="143" y="203"/>
                          <a:pt x="143" y="202"/>
                        </a:cubicBezTo>
                        <a:cubicBezTo>
                          <a:pt x="147" y="203"/>
                          <a:pt x="150" y="205"/>
                          <a:pt x="151" y="208"/>
                        </a:cubicBezTo>
                        <a:cubicBezTo>
                          <a:pt x="152" y="211"/>
                          <a:pt x="155" y="209"/>
                          <a:pt x="156" y="213"/>
                        </a:cubicBezTo>
                        <a:cubicBezTo>
                          <a:pt x="157" y="214"/>
                          <a:pt x="157" y="213"/>
                          <a:pt x="158" y="212"/>
                        </a:cubicBezTo>
                        <a:cubicBezTo>
                          <a:pt x="161" y="211"/>
                          <a:pt x="164" y="213"/>
                          <a:pt x="166" y="216"/>
                        </a:cubicBezTo>
                        <a:cubicBezTo>
                          <a:pt x="168" y="220"/>
                          <a:pt x="173" y="215"/>
                          <a:pt x="168" y="213"/>
                        </a:cubicBezTo>
                        <a:cubicBezTo>
                          <a:pt x="166" y="212"/>
                          <a:pt x="165" y="208"/>
                          <a:pt x="167" y="206"/>
                        </a:cubicBezTo>
                        <a:cubicBezTo>
                          <a:pt x="169" y="205"/>
                          <a:pt x="174" y="207"/>
                          <a:pt x="174" y="204"/>
                        </a:cubicBezTo>
                        <a:cubicBezTo>
                          <a:pt x="172" y="204"/>
                          <a:pt x="171" y="202"/>
                          <a:pt x="171" y="201"/>
                        </a:cubicBezTo>
                        <a:cubicBezTo>
                          <a:pt x="170" y="200"/>
                          <a:pt x="170" y="200"/>
                          <a:pt x="170" y="199"/>
                        </a:cubicBezTo>
                        <a:cubicBezTo>
                          <a:pt x="170" y="197"/>
                          <a:pt x="169" y="198"/>
                          <a:pt x="168" y="197"/>
                        </a:cubicBezTo>
                        <a:cubicBezTo>
                          <a:pt x="168" y="198"/>
                          <a:pt x="169" y="202"/>
                          <a:pt x="168" y="202"/>
                        </a:cubicBezTo>
                        <a:cubicBezTo>
                          <a:pt x="168" y="203"/>
                          <a:pt x="165" y="200"/>
                          <a:pt x="164" y="200"/>
                        </a:cubicBezTo>
                        <a:cubicBezTo>
                          <a:pt x="164" y="199"/>
                          <a:pt x="164" y="198"/>
                          <a:pt x="164" y="196"/>
                        </a:cubicBezTo>
                        <a:cubicBezTo>
                          <a:pt x="163" y="196"/>
                          <a:pt x="163" y="196"/>
                          <a:pt x="163" y="196"/>
                        </a:cubicBezTo>
                        <a:cubicBezTo>
                          <a:pt x="163" y="198"/>
                          <a:pt x="160" y="197"/>
                          <a:pt x="158" y="197"/>
                        </a:cubicBezTo>
                        <a:cubicBezTo>
                          <a:pt x="155" y="197"/>
                          <a:pt x="155" y="199"/>
                          <a:pt x="155" y="201"/>
                        </a:cubicBezTo>
                        <a:cubicBezTo>
                          <a:pt x="154" y="201"/>
                          <a:pt x="153" y="201"/>
                          <a:pt x="152" y="201"/>
                        </a:cubicBezTo>
                        <a:cubicBezTo>
                          <a:pt x="151" y="200"/>
                          <a:pt x="149" y="201"/>
                          <a:pt x="147" y="201"/>
                        </a:cubicBezTo>
                        <a:cubicBezTo>
                          <a:pt x="145" y="200"/>
                          <a:pt x="146" y="197"/>
                          <a:pt x="146" y="196"/>
                        </a:cubicBezTo>
                        <a:cubicBezTo>
                          <a:pt x="144" y="196"/>
                          <a:pt x="144" y="195"/>
                          <a:pt x="144" y="193"/>
                        </a:cubicBezTo>
                        <a:cubicBezTo>
                          <a:pt x="144" y="193"/>
                          <a:pt x="144" y="193"/>
                          <a:pt x="144" y="193"/>
                        </a:cubicBezTo>
                        <a:cubicBezTo>
                          <a:pt x="145" y="193"/>
                          <a:pt x="145" y="193"/>
                          <a:pt x="145" y="192"/>
                        </a:cubicBezTo>
                        <a:cubicBezTo>
                          <a:pt x="145" y="191"/>
                          <a:pt x="146" y="191"/>
                          <a:pt x="148" y="191"/>
                        </a:cubicBezTo>
                        <a:cubicBezTo>
                          <a:pt x="148" y="189"/>
                          <a:pt x="147" y="189"/>
                          <a:pt x="145" y="189"/>
                        </a:cubicBezTo>
                        <a:cubicBezTo>
                          <a:pt x="143" y="190"/>
                          <a:pt x="143" y="188"/>
                          <a:pt x="141" y="187"/>
                        </a:cubicBezTo>
                        <a:cubicBezTo>
                          <a:pt x="141" y="186"/>
                          <a:pt x="140" y="186"/>
                          <a:pt x="139" y="185"/>
                        </a:cubicBezTo>
                        <a:cubicBezTo>
                          <a:pt x="138" y="184"/>
                          <a:pt x="138" y="182"/>
                          <a:pt x="138" y="180"/>
                        </a:cubicBezTo>
                        <a:cubicBezTo>
                          <a:pt x="139" y="180"/>
                          <a:pt x="140" y="175"/>
                          <a:pt x="140" y="175"/>
                        </a:cubicBezTo>
                        <a:cubicBezTo>
                          <a:pt x="140" y="175"/>
                          <a:pt x="141" y="174"/>
                          <a:pt x="141" y="175"/>
                        </a:cubicBezTo>
                        <a:cubicBezTo>
                          <a:pt x="142" y="171"/>
                          <a:pt x="142" y="168"/>
                          <a:pt x="143" y="165"/>
                        </a:cubicBezTo>
                        <a:cubicBezTo>
                          <a:pt x="139" y="165"/>
                          <a:pt x="139" y="164"/>
                          <a:pt x="139" y="161"/>
                        </a:cubicBezTo>
                        <a:cubicBezTo>
                          <a:pt x="140" y="161"/>
                          <a:pt x="140" y="160"/>
                          <a:pt x="141" y="159"/>
                        </a:cubicBezTo>
                        <a:cubicBezTo>
                          <a:pt x="142" y="160"/>
                          <a:pt x="143" y="163"/>
                          <a:pt x="146" y="163"/>
                        </a:cubicBezTo>
                        <a:cubicBezTo>
                          <a:pt x="148" y="163"/>
                          <a:pt x="150" y="162"/>
                          <a:pt x="152" y="163"/>
                        </a:cubicBezTo>
                        <a:cubicBezTo>
                          <a:pt x="154" y="163"/>
                          <a:pt x="155" y="165"/>
                          <a:pt x="156" y="162"/>
                        </a:cubicBezTo>
                        <a:cubicBezTo>
                          <a:pt x="158" y="160"/>
                          <a:pt x="161" y="160"/>
                          <a:pt x="159" y="157"/>
                        </a:cubicBezTo>
                        <a:cubicBezTo>
                          <a:pt x="159" y="157"/>
                          <a:pt x="158" y="156"/>
                          <a:pt x="158" y="156"/>
                        </a:cubicBezTo>
                        <a:cubicBezTo>
                          <a:pt x="157" y="155"/>
                          <a:pt x="157" y="152"/>
                          <a:pt x="157" y="151"/>
                        </a:cubicBezTo>
                        <a:cubicBezTo>
                          <a:pt x="157" y="148"/>
                          <a:pt x="154" y="146"/>
                          <a:pt x="152" y="144"/>
                        </a:cubicBezTo>
                        <a:cubicBezTo>
                          <a:pt x="150" y="142"/>
                          <a:pt x="154" y="141"/>
                          <a:pt x="154" y="139"/>
                        </a:cubicBezTo>
                        <a:cubicBezTo>
                          <a:pt x="154" y="136"/>
                          <a:pt x="154" y="134"/>
                          <a:pt x="158" y="134"/>
                        </a:cubicBezTo>
                        <a:cubicBezTo>
                          <a:pt x="158" y="133"/>
                          <a:pt x="158" y="132"/>
                          <a:pt x="158" y="131"/>
                        </a:cubicBezTo>
                        <a:cubicBezTo>
                          <a:pt x="155" y="131"/>
                          <a:pt x="155" y="128"/>
                          <a:pt x="156" y="125"/>
                        </a:cubicBezTo>
                        <a:cubicBezTo>
                          <a:pt x="159" y="116"/>
                          <a:pt x="172" y="122"/>
                          <a:pt x="179" y="122"/>
                        </a:cubicBezTo>
                        <a:cubicBezTo>
                          <a:pt x="179" y="117"/>
                          <a:pt x="177" y="108"/>
                          <a:pt x="181" y="104"/>
                        </a:cubicBezTo>
                        <a:cubicBezTo>
                          <a:pt x="183" y="104"/>
                          <a:pt x="185" y="104"/>
                          <a:pt x="185" y="101"/>
                        </a:cubicBezTo>
                        <a:cubicBezTo>
                          <a:pt x="185" y="101"/>
                          <a:pt x="184" y="101"/>
                          <a:pt x="183" y="101"/>
                        </a:cubicBezTo>
                        <a:cubicBezTo>
                          <a:pt x="182" y="99"/>
                          <a:pt x="178" y="99"/>
                          <a:pt x="177" y="99"/>
                        </a:cubicBezTo>
                        <a:cubicBezTo>
                          <a:pt x="173" y="99"/>
                          <a:pt x="170" y="97"/>
                          <a:pt x="167" y="96"/>
                        </a:cubicBezTo>
                        <a:cubicBezTo>
                          <a:pt x="166" y="92"/>
                          <a:pt x="172" y="94"/>
                          <a:pt x="175" y="93"/>
                        </a:cubicBezTo>
                        <a:cubicBezTo>
                          <a:pt x="175" y="92"/>
                          <a:pt x="177" y="90"/>
                          <a:pt x="178" y="90"/>
                        </a:cubicBezTo>
                        <a:cubicBezTo>
                          <a:pt x="178" y="89"/>
                          <a:pt x="178" y="88"/>
                          <a:pt x="179" y="88"/>
                        </a:cubicBezTo>
                        <a:cubicBezTo>
                          <a:pt x="179" y="86"/>
                          <a:pt x="179" y="86"/>
                          <a:pt x="177" y="86"/>
                        </a:cubicBezTo>
                        <a:cubicBezTo>
                          <a:pt x="178" y="84"/>
                          <a:pt x="177" y="82"/>
                          <a:pt x="177" y="80"/>
                        </a:cubicBezTo>
                        <a:cubicBezTo>
                          <a:pt x="178" y="80"/>
                          <a:pt x="179" y="80"/>
                          <a:pt x="180" y="80"/>
                        </a:cubicBezTo>
                        <a:cubicBezTo>
                          <a:pt x="180" y="78"/>
                          <a:pt x="177" y="76"/>
                          <a:pt x="179" y="74"/>
                        </a:cubicBezTo>
                        <a:cubicBezTo>
                          <a:pt x="181" y="71"/>
                          <a:pt x="181" y="69"/>
                          <a:pt x="181" y="66"/>
                        </a:cubicBezTo>
                        <a:cubicBezTo>
                          <a:pt x="182" y="62"/>
                          <a:pt x="180" y="63"/>
                          <a:pt x="178" y="62"/>
                        </a:cubicBezTo>
                        <a:cubicBezTo>
                          <a:pt x="175" y="60"/>
                          <a:pt x="178" y="57"/>
                          <a:pt x="180" y="58"/>
                        </a:cubicBezTo>
                        <a:cubicBezTo>
                          <a:pt x="181" y="52"/>
                          <a:pt x="189" y="47"/>
                          <a:pt x="194" y="47"/>
                        </a:cubicBezTo>
                        <a:cubicBezTo>
                          <a:pt x="195" y="44"/>
                          <a:pt x="190" y="44"/>
                          <a:pt x="189" y="44"/>
                        </a:cubicBezTo>
                        <a:cubicBezTo>
                          <a:pt x="187" y="44"/>
                          <a:pt x="186" y="44"/>
                          <a:pt x="184" y="44"/>
                        </a:cubicBezTo>
                        <a:cubicBezTo>
                          <a:pt x="182" y="43"/>
                          <a:pt x="182" y="42"/>
                          <a:pt x="180" y="42"/>
                        </a:cubicBezTo>
                        <a:cubicBezTo>
                          <a:pt x="179" y="39"/>
                          <a:pt x="181" y="39"/>
                          <a:pt x="183" y="39"/>
                        </a:cubicBezTo>
                        <a:cubicBezTo>
                          <a:pt x="184" y="36"/>
                          <a:pt x="184" y="36"/>
                          <a:pt x="187" y="35"/>
                        </a:cubicBezTo>
                        <a:cubicBezTo>
                          <a:pt x="187" y="34"/>
                          <a:pt x="187" y="33"/>
                          <a:pt x="187" y="32"/>
                        </a:cubicBezTo>
                        <a:cubicBezTo>
                          <a:pt x="189" y="32"/>
                          <a:pt x="193" y="28"/>
                          <a:pt x="193" y="27"/>
                        </a:cubicBezTo>
                        <a:cubicBezTo>
                          <a:pt x="194" y="24"/>
                          <a:pt x="190" y="18"/>
                          <a:pt x="194" y="18"/>
                        </a:cubicBezTo>
                        <a:cubicBezTo>
                          <a:pt x="194" y="17"/>
                          <a:pt x="194" y="16"/>
                          <a:pt x="194" y="15"/>
                        </a:cubicBezTo>
                        <a:cubicBezTo>
                          <a:pt x="193" y="15"/>
                          <a:pt x="193" y="11"/>
                          <a:pt x="193" y="10"/>
                        </a:cubicBezTo>
                        <a:cubicBezTo>
                          <a:pt x="194" y="10"/>
                          <a:pt x="194" y="10"/>
                          <a:pt x="195" y="10"/>
                        </a:cubicBezTo>
                        <a:cubicBezTo>
                          <a:pt x="194" y="7"/>
                          <a:pt x="194" y="7"/>
                          <a:pt x="194" y="7"/>
                        </a:cubicBezTo>
                        <a:cubicBezTo>
                          <a:pt x="194" y="7"/>
                          <a:pt x="188" y="5"/>
                          <a:pt x="187" y="7"/>
                        </a:cubicBezTo>
                        <a:cubicBezTo>
                          <a:pt x="183" y="13"/>
                          <a:pt x="184" y="2"/>
                          <a:pt x="183" y="0"/>
                        </a:cubicBezTo>
                        <a:cubicBezTo>
                          <a:pt x="179" y="0"/>
                          <a:pt x="180" y="0"/>
                          <a:pt x="178" y="3"/>
                        </a:cubicBezTo>
                        <a:cubicBezTo>
                          <a:pt x="177" y="6"/>
                          <a:pt x="174" y="7"/>
                          <a:pt x="172" y="9"/>
                        </a:cubicBezTo>
                        <a:cubicBezTo>
                          <a:pt x="170" y="13"/>
                          <a:pt x="163" y="6"/>
                          <a:pt x="160" y="13"/>
                        </a:cubicBezTo>
                        <a:cubicBezTo>
                          <a:pt x="162" y="13"/>
                          <a:pt x="162" y="14"/>
                          <a:pt x="162" y="15"/>
                        </a:cubicBezTo>
                        <a:cubicBezTo>
                          <a:pt x="162" y="17"/>
                          <a:pt x="162" y="17"/>
                          <a:pt x="160" y="17"/>
                        </a:cubicBezTo>
                        <a:cubicBezTo>
                          <a:pt x="160" y="18"/>
                          <a:pt x="160" y="20"/>
                          <a:pt x="160" y="20"/>
                        </a:cubicBezTo>
                        <a:cubicBezTo>
                          <a:pt x="159" y="21"/>
                          <a:pt x="159" y="21"/>
                          <a:pt x="159" y="21"/>
                        </a:cubicBezTo>
                        <a:cubicBezTo>
                          <a:pt x="156" y="23"/>
                          <a:pt x="154" y="23"/>
                          <a:pt x="151" y="22"/>
                        </a:cubicBezTo>
                        <a:cubicBezTo>
                          <a:pt x="151" y="21"/>
                          <a:pt x="151" y="21"/>
                          <a:pt x="151" y="20"/>
                        </a:cubicBezTo>
                        <a:cubicBezTo>
                          <a:pt x="151" y="20"/>
                          <a:pt x="151" y="20"/>
                          <a:pt x="151" y="20"/>
                        </a:cubicBezTo>
                        <a:cubicBezTo>
                          <a:pt x="151" y="22"/>
                          <a:pt x="150" y="24"/>
                          <a:pt x="151" y="25"/>
                        </a:cubicBezTo>
                        <a:cubicBezTo>
                          <a:pt x="153" y="26"/>
                          <a:pt x="153" y="27"/>
                          <a:pt x="150" y="28"/>
                        </a:cubicBezTo>
                        <a:cubicBezTo>
                          <a:pt x="147" y="29"/>
                          <a:pt x="147" y="35"/>
                          <a:pt x="145" y="29"/>
                        </a:cubicBezTo>
                        <a:cubicBezTo>
                          <a:pt x="143" y="30"/>
                          <a:pt x="141" y="28"/>
                          <a:pt x="139" y="29"/>
                        </a:cubicBezTo>
                        <a:cubicBezTo>
                          <a:pt x="137" y="29"/>
                          <a:pt x="137" y="31"/>
                          <a:pt x="135" y="32"/>
                        </a:cubicBezTo>
                        <a:cubicBezTo>
                          <a:pt x="134" y="33"/>
                          <a:pt x="135" y="36"/>
                          <a:pt x="133" y="36"/>
                        </a:cubicBezTo>
                        <a:cubicBezTo>
                          <a:pt x="132" y="36"/>
                          <a:pt x="130" y="35"/>
                          <a:pt x="128" y="35"/>
                        </a:cubicBezTo>
                        <a:cubicBezTo>
                          <a:pt x="128" y="36"/>
                          <a:pt x="129" y="37"/>
                          <a:pt x="129" y="38"/>
                        </a:cubicBezTo>
                        <a:cubicBezTo>
                          <a:pt x="130" y="39"/>
                          <a:pt x="128" y="40"/>
                          <a:pt x="128" y="41"/>
                        </a:cubicBezTo>
                        <a:cubicBezTo>
                          <a:pt x="128" y="43"/>
                          <a:pt x="129" y="46"/>
                          <a:pt x="131" y="47"/>
                        </a:cubicBezTo>
                        <a:cubicBezTo>
                          <a:pt x="131" y="48"/>
                          <a:pt x="130" y="49"/>
                          <a:pt x="129" y="50"/>
                        </a:cubicBezTo>
                        <a:cubicBezTo>
                          <a:pt x="126" y="48"/>
                          <a:pt x="126" y="47"/>
                          <a:pt x="122" y="47"/>
                        </a:cubicBezTo>
                        <a:cubicBezTo>
                          <a:pt x="115" y="44"/>
                          <a:pt x="115" y="44"/>
                          <a:pt x="115" y="44"/>
                        </a:cubicBezTo>
                        <a:cubicBezTo>
                          <a:pt x="115" y="46"/>
                          <a:pt x="115" y="46"/>
                          <a:pt x="115" y="46"/>
                        </a:cubicBezTo>
                        <a:cubicBezTo>
                          <a:pt x="113" y="46"/>
                          <a:pt x="110" y="46"/>
                          <a:pt x="108" y="45"/>
                        </a:cubicBezTo>
                        <a:cubicBezTo>
                          <a:pt x="107" y="44"/>
                          <a:pt x="105" y="40"/>
                          <a:pt x="102" y="40"/>
                        </a:cubicBezTo>
                        <a:cubicBezTo>
                          <a:pt x="102" y="42"/>
                          <a:pt x="98" y="41"/>
                          <a:pt x="98" y="40"/>
                        </a:cubicBezTo>
                        <a:cubicBezTo>
                          <a:pt x="96" y="38"/>
                          <a:pt x="95" y="36"/>
                          <a:pt x="92" y="37"/>
                        </a:cubicBezTo>
                        <a:cubicBezTo>
                          <a:pt x="92" y="39"/>
                          <a:pt x="91" y="41"/>
                          <a:pt x="91" y="44"/>
                        </a:cubicBezTo>
                        <a:cubicBezTo>
                          <a:pt x="91" y="46"/>
                          <a:pt x="93" y="48"/>
                          <a:pt x="93" y="51"/>
                        </a:cubicBezTo>
                        <a:cubicBezTo>
                          <a:pt x="91" y="51"/>
                          <a:pt x="90" y="53"/>
                          <a:pt x="91" y="55"/>
                        </a:cubicBezTo>
                        <a:cubicBezTo>
                          <a:pt x="92" y="57"/>
                          <a:pt x="92" y="58"/>
                          <a:pt x="92" y="60"/>
                        </a:cubicBezTo>
                        <a:cubicBezTo>
                          <a:pt x="92" y="62"/>
                          <a:pt x="92" y="65"/>
                          <a:pt x="90" y="63"/>
                        </a:cubicBezTo>
                        <a:cubicBezTo>
                          <a:pt x="88" y="62"/>
                          <a:pt x="89" y="61"/>
                          <a:pt x="86" y="61"/>
                        </a:cubicBezTo>
                        <a:cubicBezTo>
                          <a:pt x="86" y="62"/>
                          <a:pt x="86" y="63"/>
                          <a:pt x="86" y="64"/>
                        </a:cubicBezTo>
                        <a:cubicBezTo>
                          <a:pt x="81" y="64"/>
                          <a:pt x="75" y="62"/>
                          <a:pt x="71" y="63"/>
                        </a:cubicBezTo>
                        <a:cubicBezTo>
                          <a:pt x="71" y="65"/>
                          <a:pt x="72" y="66"/>
                          <a:pt x="70" y="67"/>
                        </a:cubicBezTo>
                        <a:cubicBezTo>
                          <a:pt x="69" y="68"/>
                          <a:pt x="67" y="68"/>
                          <a:pt x="66" y="67"/>
                        </a:cubicBezTo>
                        <a:cubicBezTo>
                          <a:pt x="63" y="63"/>
                          <a:pt x="58" y="63"/>
                          <a:pt x="54" y="63"/>
                        </a:cubicBezTo>
                        <a:cubicBezTo>
                          <a:pt x="55" y="63"/>
                          <a:pt x="54" y="66"/>
                          <a:pt x="54" y="67"/>
                        </a:cubicBezTo>
                        <a:cubicBezTo>
                          <a:pt x="54" y="67"/>
                          <a:pt x="53" y="67"/>
                          <a:pt x="52" y="67"/>
                        </a:cubicBezTo>
                        <a:cubicBezTo>
                          <a:pt x="52" y="70"/>
                          <a:pt x="51" y="72"/>
                          <a:pt x="48" y="72"/>
                        </a:cubicBezTo>
                        <a:cubicBezTo>
                          <a:pt x="47" y="72"/>
                          <a:pt x="43" y="73"/>
                          <a:pt x="43" y="74"/>
                        </a:cubicBezTo>
                        <a:cubicBezTo>
                          <a:pt x="39" y="74"/>
                          <a:pt x="37" y="77"/>
                          <a:pt x="40" y="79"/>
                        </a:cubicBezTo>
                        <a:cubicBezTo>
                          <a:pt x="38" y="79"/>
                          <a:pt x="36" y="80"/>
                          <a:pt x="34" y="80"/>
                        </a:cubicBezTo>
                        <a:cubicBezTo>
                          <a:pt x="34" y="78"/>
                          <a:pt x="34" y="77"/>
                          <a:pt x="32" y="76"/>
                        </a:cubicBezTo>
                        <a:cubicBezTo>
                          <a:pt x="30" y="76"/>
                          <a:pt x="28" y="75"/>
                          <a:pt x="27" y="77"/>
                        </a:cubicBezTo>
                        <a:cubicBezTo>
                          <a:pt x="26" y="79"/>
                          <a:pt x="27" y="79"/>
                          <a:pt x="24" y="79"/>
                        </a:cubicBezTo>
                        <a:cubicBezTo>
                          <a:pt x="22" y="80"/>
                          <a:pt x="22" y="81"/>
                          <a:pt x="22" y="82"/>
                        </a:cubicBezTo>
                        <a:cubicBezTo>
                          <a:pt x="20" y="83"/>
                          <a:pt x="20" y="80"/>
                          <a:pt x="18" y="81"/>
                        </a:cubicBezTo>
                        <a:cubicBezTo>
                          <a:pt x="17" y="83"/>
                          <a:pt x="23" y="87"/>
                          <a:pt x="21" y="89"/>
                        </a:cubicBezTo>
                        <a:cubicBezTo>
                          <a:pt x="20" y="90"/>
                          <a:pt x="19" y="90"/>
                          <a:pt x="20" y="93"/>
                        </a:cubicBezTo>
                        <a:cubicBezTo>
                          <a:pt x="20" y="94"/>
                          <a:pt x="22" y="96"/>
                          <a:pt x="22" y="94"/>
                        </a:cubicBezTo>
                        <a:cubicBezTo>
                          <a:pt x="27" y="93"/>
                          <a:pt x="28" y="100"/>
                          <a:pt x="28" y="103"/>
                        </a:cubicBezTo>
                        <a:cubicBezTo>
                          <a:pt x="26" y="103"/>
                          <a:pt x="24" y="103"/>
                          <a:pt x="21" y="104"/>
                        </a:cubicBezTo>
                        <a:cubicBezTo>
                          <a:pt x="20" y="107"/>
                          <a:pt x="24" y="106"/>
                          <a:pt x="26" y="107"/>
                        </a:cubicBezTo>
                        <a:cubicBezTo>
                          <a:pt x="28" y="109"/>
                          <a:pt x="24" y="113"/>
                          <a:pt x="22" y="113"/>
                        </a:cubicBezTo>
                        <a:cubicBezTo>
                          <a:pt x="22" y="114"/>
                          <a:pt x="22" y="116"/>
                          <a:pt x="22" y="117"/>
                        </a:cubicBezTo>
                        <a:cubicBezTo>
                          <a:pt x="20" y="117"/>
                          <a:pt x="19" y="116"/>
                          <a:pt x="17" y="116"/>
                        </a:cubicBezTo>
                        <a:cubicBezTo>
                          <a:pt x="17" y="117"/>
                          <a:pt x="17" y="117"/>
                          <a:pt x="17" y="117"/>
                        </a:cubicBezTo>
                        <a:cubicBezTo>
                          <a:pt x="18" y="117"/>
                          <a:pt x="18" y="117"/>
                          <a:pt x="18" y="118"/>
                        </a:cubicBezTo>
                        <a:cubicBezTo>
                          <a:pt x="15" y="118"/>
                          <a:pt x="7" y="119"/>
                          <a:pt x="8" y="124"/>
                        </a:cubicBezTo>
                        <a:cubicBezTo>
                          <a:pt x="12" y="124"/>
                          <a:pt x="12" y="124"/>
                          <a:pt x="15" y="126"/>
                        </a:cubicBezTo>
                        <a:cubicBezTo>
                          <a:pt x="16" y="127"/>
                          <a:pt x="19" y="130"/>
                          <a:pt x="16" y="131"/>
                        </a:cubicBezTo>
                        <a:cubicBezTo>
                          <a:pt x="17" y="133"/>
                          <a:pt x="15" y="136"/>
                          <a:pt x="15" y="138"/>
                        </a:cubicBezTo>
                        <a:cubicBezTo>
                          <a:pt x="17" y="138"/>
                          <a:pt x="19" y="140"/>
                          <a:pt x="18" y="142"/>
                        </a:cubicBezTo>
                        <a:cubicBezTo>
                          <a:pt x="18" y="142"/>
                          <a:pt x="17" y="142"/>
                          <a:pt x="17" y="143"/>
                        </a:cubicBezTo>
                        <a:cubicBezTo>
                          <a:pt x="17" y="144"/>
                          <a:pt x="14" y="144"/>
                          <a:pt x="14" y="144"/>
                        </a:cubicBezTo>
                        <a:cubicBezTo>
                          <a:pt x="13" y="146"/>
                          <a:pt x="17" y="145"/>
                          <a:pt x="16" y="148"/>
                        </a:cubicBezTo>
                        <a:cubicBezTo>
                          <a:pt x="16" y="148"/>
                          <a:pt x="16" y="148"/>
                          <a:pt x="16" y="148"/>
                        </a:cubicBezTo>
                        <a:cubicBezTo>
                          <a:pt x="15" y="150"/>
                          <a:pt x="16" y="153"/>
                          <a:pt x="14" y="154"/>
                        </a:cubicBezTo>
                        <a:cubicBezTo>
                          <a:pt x="13" y="155"/>
                          <a:pt x="13" y="156"/>
                          <a:pt x="13" y="158"/>
                        </a:cubicBezTo>
                        <a:cubicBezTo>
                          <a:pt x="11" y="158"/>
                          <a:pt x="10" y="156"/>
                          <a:pt x="9" y="156"/>
                        </a:cubicBezTo>
                        <a:cubicBezTo>
                          <a:pt x="9" y="157"/>
                          <a:pt x="9" y="158"/>
                          <a:pt x="9" y="158"/>
                        </a:cubicBezTo>
                        <a:cubicBezTo>
                          <a:pt x="7" y="158"/>
                          <a:pt x="5" y="158"/>
                          <a:pt x="3" y="158"/>
                        </a:cubicBezTo>
                        <a:cubicBezTo>
                          <a:pt x="3" y="159"/>
                          <a:pt x="3" y="159"/>
                          <a:pt x="3" y="159"/>
                        </a:cubicBezTo>
                        <a:cubicBezTo>
                          <a:pt x="4" y="160"/>
                          <a:pt x="6" y="160"/>
                          <a:pt x="6" y="162"/>
                        </a:cubicBezTo>
                        <a:cubicBezTo>
                          <a:pt x="4" y="162"/>
                          <a:pt x="0" y="160"/>
                          <a:pt x="1" y="163"/>
                        </a:cubicBezTo>
                        <a:cubicBezTo>
                          <a:pt x="3" y="164"/>
                          <a:pt x="2" y="165"/>
                          <a:pt x="3" y="166"/>
                        </a:cubicBezTo>
                        <a:cubicBezTo>
                          <a:pt x="4" y="166"/>
                          <a:pt x="6" y="165"/>
                          <a:pt x="7" y="166"/>
                        </a:cubicBezTo>
                        <a:cubicBezTo>
                          <a:pt x="8" y="166"/>
                          <a:pt x="8" y="168"/>
                          <a:pt x="9" y="168"/>
                        </a:cubicBezTo>
                        <a:cubicBezTo>
                          <a:pt x="10" y="169"/>
                          <a:pt x="11" y="168"/>
                          <a:pt x="12" y="169"/>
                        </a:cubicBezTo>
                        <a:cubicBezTo>
                          <a:pt x="13" y="170"/>
                          <a:pt x="12" y="172"/>
                          <a:pt x="12" y="172"/>
                        </a:cubicBezTo>
                        <a:cubicBezTo>
                          <a:pt x="13" y="174"/>
                          <a:pt x="14" y="173"/>
                          <a:pt x="14" y="175"/>
                        </a:cubicBezTo>
                        <a:cubicBezTo>
                          <a:pt x="14" y="177"/>
                          <a:pt x="14" y="179"/>
                          <a:pt x="18" y="179"/>
                        </a:cubicBezTo>
                        <a:cubicBezTo>
                          <a:pt x="18" y="180"/>
                          <a:pt x="16" y="180"/>
                          <a:pt x="16" y="182"/>
                        </a:cubicBezTo>
                        <a:cubicBezTo>
                          <a:pt x="16" y="182"/>
                          <a:pt x="17" y="184"/>
                          <a:pt x="17" y="185"/>
                        </a:cubicBezTo>
                        <a:cubicBezTo>
                          <a:pt x="17" y="186"/>
                          <a:pt x="18" y="186"/>
                          <a:pt x="18" y="187"/>
                        </a:cubicBezTo>
                        <a:cubicBezTo>
                          <a:pt x="19" y="188"/>
                          <a:pt x="20" y="188"/>
                          <a:pt x="19" y="190"/>
                        </a:cubicBezTo>
                        <a:cubicBezTo>
                          <a:pt x="19" y="190"/>
                          <a:pt x="19" y="190"/>
                          <a:pt x="19" y="190"/>
                        </a:cubicBezTo>
                        <a:cubicBezTo>
                          <a:pt x="19" y="191"/>
                          <a:pt x="19" y="191"/>
                          <a:pt x="19" y="191"/>
                        </a:cubicBezTo>
                        <a:cubicBezTo>
                          <a:pt x="22" y="191"/>
                          <a:pt x="19" y="197"/>
                          <a:pt x="18" y="198"/>
                        </a:cubicBezTo>
                        <a:cubicBezTo>
                          <a:pt x="21" y="199"/>
                          <a:pt x="24" y="203"/>
                          <a:pt x="25" y="206"/>
                        </a:cubicBezTo>
                        <a:cubicBezTo>
                          <a:pt x="25" y="207"/>
                          <a:pt x="26" y="208"/>
                          <a:pt x="26" y="209"/>
                        </a:cubicBezTo>
                        <a:cubicBezTo>
                          <a:pt x="26" y="210"/>
                          <a:pt x="27" y="210"/>
                          <a:pt x="27" y="211"/>
                        </a:cubicBezTo>
                        <a:cubicBezTo>
                          <a:pt x="27" y="212"/>
                          <a:pt x="27" y="214"/>
                          <a:pt x="27" y="216"/>
                        </a:cubicBezTo>
                        <a:cubicBezTo>
                          <a:pt x="28" y="216"/>
                          <a:pt x="30" y="216"/>
                          <a:pt x="30" y="218"/>
                        </a:cubicBezTo>
                        <a:cubicBezTo>
                          <a:pt x="26" y="219"/>
                          <a:pt x="29" y="221"/>
                          <a:pt x="29" y="224"/>
                        </a:cubicBezTo>
                        <a:cubicBezTo>
                          <a:pt x="30" y="227"/>
                          <a:pt x="30" y="229"/>
                          <a:pt x="29" y="231"/>
                        </a:cubicBezTo>
                        <a:cubicBezTo>
                          <a:pt x="29" y="231"/>
                          <a:pt x="26" y="232"/>
                          <a:pt x="26" y="233"/>
                        </a:cubicBezTo>
                        <a:cubicBezTo>
                          <a:pt x="25" y="234"/>
                          <a:pt x="27" y="234"/>
                          <a:pt x="28" y="234"/>
                        </a:cubicBezTo>
                        <a:cubicBezTo>
                          <a:pt x="29" y="235"/>
                          <a:pt x="29" y="235"/>
                          <a:pt x="30" y="237"/>
                        </a:cubicBezTo>
                        <a:cubicBezTo>
                          <a:pt x="30" y="238"/>
                          <a:pt x="30" y="239"/>
                          <a:pt x="31" y="241"/>
                        </a:cubicBezTo>
                        <a:cubicBezTo>
                          <a:pt x="32" y="242"/>
                          <a:pt x="32" y="243"/>
                          <a:pt x="32" y="245"/>
                        </a:cubicBezTo>
                        <a:cubicBezTo>
                          <a:pt x="32" y="246"/>
                          <a:pt x="32" y="247"/>
                          <a:pt x="32" y="249"/>
                        </a:cubicBezTo>
                        <a:cubicBezTo>
                          <a:pt x="32" y="250"/>
                          <a:pt x="32" y="251"/>
                          <a:pt x="32" y="252"/>
                        </a:cubicBezTo>
                        <a:cubicBezTo>
                          <a:pt x="33" y="254"/>
                          <a:pt x="34" y="253"/>
                          <a:pt x="35" y="254"/>
                        </a:cubicBezTo>
                        <a:cubicBezTo>
                          <a:pt x="32" y="256"/>
                          <a:pt x="35" y="259"/>
                          <a:pt x="36" y="262"/>
                        </a:cubicBezTo>
                        <a:cubicBezTo>
                          <a:pt x="37" y="264"/>
                          <a:pt x="37" y="266"/>
                          <a:pt x="38" y="268"/>
                        </a:cubicBezTo>
                        <a:cubicBezTo>
                          <a:pt x="38" y="268"/>
                          <a:pt x="39" y="268"/>
                          <a:pt x="40" y="268"/>
                        </a:cubicBezTo>
                        <a:cubicBezTo>
                          <a:pt x="42" y="268"/>
                          <a:pt x="42" y="267"/>
                          <a:pt x="44" y="267"/>
                        </a:cubicBezTo>
                        <a:cubicBezTo>
                          <a:pt x="45" y="267"/>
                          <a:pt x="44" y="270"/>
                          <a:pt x="44" y="270"/>
                        </a:cubicBezTo>
                        <a:cubicBezTo>
                          <a:pt x="46" y="270"/>
                          <a:pt x="48" y="272"/>
                          <a:pt x="46" y="272"/>
                        </a:cubicBezTo>
                        <a:cubicBezTo>
                          <a:pt x="46" y="273"/>
                          <a:pt x="47" y="274"/>
                          <a:pt x="48" y="274"/>
                        </a:cubicBezTo>
                        <a:cubicBezTo>
                          <a:pt x="48" y="272"/>
                          <a:pt x="49" y="272"/>
                          <a:pt x="51" y="273"/>
                        </a:cubicBezTo>
                        <a:cubicBezTo>
                          <a:pt x="54" y="275"/>
                          <a:pt x="51" y="275"/>
                          <a:pt x="52" y="276"/>
                        </a:cubicBezTo>
                        <a:cubicBezTo>
                          <a:pt x="53" y="277"/>
                          <a:pt x="54" y="277"/>
                          <a:pt x="55" y="277"/>
                        </a:cubicBezTo>
                        <a:cubicBezTo>
                          <a:pt x="55" y="277"/>
                          <a:pt x="55" y="278"/>
                          <a:pt x="55" y="279"/>
                        </a:cubicBezTo>
                        <a:cubicBezTo>
                          <a:pt x="55" y="278"/>
                          <a:pt x="57" y="276"/>
                          <a:pt x="58" y="276"/>
                        </a:cubicBezTo>
                        <a:cubicBezTo>
                          <a:pt x="58" y="278"/>
                          <a:pt x="58" y="279"/>
                          <a:pt x="57" y="280"/>
                        </a:cubicBezTo>
                        <a:cubicBezTo>
                          <a:pt x="59" y="280"/>
                          <a:pt x="60" y="282"/>
                          <a:pt x="60" y="283"/>
                        </a:cubicBezTo>
                        <a:cubicBezTo>
                          <a:pt x="62" y="283"/>
                          <a:pt x="62" y="283"/>
                          <a:pt x="62" y="283"/>
                        </a:cubicBezTo>
                        <a:cubicBezTo>
                          <a:pt x="62" y="282"/>
                          <a:pt x="65" y="282"/>
                          <a:pt x="64" y="283"/>
                        </a:cubicBezTo>
                        <a:cubicBezTo>
                          <a:pt x="64" y="285"/>
                          <a:pt x="62" y="285"/>
                          <a:pt x="62" y="286"/>
                        </a:cubicBezTo>
                        <a:cubicBezTo>
                          <a:pt x="62" y="288"/>
                          <a:pt x="63" y="288"/>
                          <a:pt x="63" y="290"/>
                        </a:cubicBezTo>
                        <a:cubicBezTo>
                          <a:pt x="63" y="293"/>
                          <a:pt x="64" y="292"/>
                          <a:pt x="67" y="293"/>
                        </a:cubicBezTo>
                        <a:cubicBezTo>
                          <a:pt x="69" y="293"/>
                          <a:pt x="71" y="298"/>
                          <a:pt x="71" y="300"/>
                        </a:cubicBezTo>
                        <a:cubicBezTo>
                          <a:pt x="74" y="300"/>
                          <a:pt x="75" y="302"/>
                          <a:pt x="77" y="303"/>
                        </a:cubicBezTo>
                        <a:cubicBezTo>
                          <a:pt x="78" y="305"/>
                          <a:pt x="83" y="304"/>
                          <a:pt x="84" y="306"/>
                        </a:cubicBezTo>
                        <a:cubicBezTo>
                          <a:pt x="84" y="309"/>
                          <a:pt x="85" y="310"/>
                          <a:pt x="88" y="312"/>
                        </a:cubicBezTo>
                        <a:cubicBezTo>
                          <a:pt x="89" y="312"/>
                          <a:pt x="91" y="312"/>
                          <a:pt x="92" y="312"/>
                        </a:cubicBezTo>
                        <a:cubicBezTo>
                          <a:pt x="94" y="312"/>
                          <a:pt x="96" y="311"/>
                          <a:pt x="98" y="311"/>
                        </a:cubicBezTo>
                        <a:cubicBezTo>
                          <a:pt x="98" y="312"/>
                          <a:pt x="98" y="314"/>
                          <a:pt x="98" y="315"/>
                        </a:cubicBezTo>
                        <a:cubicBezTo>
                          <a:pt x="99" y="315"/>
                          <a:pt x="102" y="315"/>
                          <a:pt x="103" y="316"/>
                        </a:cubicBezTo>
                        <a:cubicBezTo>
                          <a:pt x="103" y="317"/>
                          <a:pt x="104" y="319"/>
                          <a:pt x="104" y="319"/>
                        </a:cubicBezTo>
                        <a:cubicBezTo>
                          <a:pt x="104" y="319"/>
                          <a:pt x="104" y="319"/>
                          <a:pt x="104" y="319"/>
                        </a:cubicBezTo>
                        <a:cubicBezTo>
                          <a:pt x="106" y="318"/>
                          <a:pt x="107" y="321"/>
                          <a:pt x="109" y="322"/>
                        </a:cubicBezTo>
                        <a:cubicBezTo>
                          <a:pt x="111" y="322"/>
                          <a:pt x="114" y="322"/>
                          <a:pt x="114" y="324"/>
                        </a:cubicBezTo>
                        <a:cubicBezTo>
                          <a:pt x="114" y="324"/>
                          <a:pt x="115" y="325"/>
                          <a:pt x="115" y="326"/>
                        </a:cubicBezTo>
                        <a:cubicBezTo>
                          <a:pt x="115" y="326"/>
                          <a:pt x="115" y="326"/>
                          <a:pt x="115" y="326"/>
                        </a:cubicBezTo>
                        <a:cubicBezTo>
                          <a:pt x="117" y="326"/>
                          <a:pt x="119" y="325"/>
                          <a:pt x="120" y="326"/>
                        </a:cubicBezTo>
                        <a:cubicBezTo>
                          <a:pt x="121" y="327"/>
                          <a:pt x="121" y="331"/>
                          <a:pt x="121" y="331"/>
                        </a:cubicBezTo>
                        <a:cubicBezTo>
                          <a:pt x="122" y="331"/>
                          <a:pt x="123" y="330"/>
                          <a:pt x="125" y="330"/>
                        </a:cubicBezTo>
                        <a:cubicBezTo>
                          <a:pt x="126" y="330"/>
                          <a:pt x="128" y="330"/>
                          <a:pt x="130" y="330"/>
                        </a:cubicBezTo>
                        <a:cubicBezTo>
                          <a:pt x="135" y="330"/>
                          <a:pt x="135" y="330"/>
                          <a:pt x="136" y="326"/>
                        </a:cubicBezTo>
                        <a:cubicBezTo>
                          <a:pt x="136" y="323"/>
                          <a:pt x="139" y="321"/>
                          <a:pt x="142" y="321"/>
                        </a:cubicBezTo>
                        <a:cubicBezTo>
                          <a:pt x="143" y="321"/>
                          <a:pt x="145" y="320"/>
                          <a:pt x="146" y="321"/>
                        </a:cubicBezTo>
                        <a:cubicBezTo>
                          <a:pt x="147" y="322"/>
                          <a:pt x="148" y="324"/>
                          <a:pt x="149" y="324"/>
                        </a:cubicBezTo>
                        <a:cubicBezTo>
                          <a:pt x="149" y="323"/>
                          <a:pt x="150" y="322"/>
                          <a:pt x="149" y="322"/>
                        </a:cubicBezTo>
                        <a:cubicBezTo>
                          <a:pt x="153" y="321"/>
                          <a:pt x="155" y="321"/>
                          <a:pt x="158" y="322"/>
                        </a:cubicBezTo>
                        <a:cubicBezTo>
                          <a:pt x="160" y="322"/>
                          <a:pt x="164" y="324"/>
                          <a:pt x="166" y="324"/>
                        </a:cubicBezTo>
                        <a:cubicBezTo>
                          <a:pt x="166" y="322"/>
                          <a:pt x="166" y="319"/>
                          <a:pt x="168" y="317"/>
                        </a:cubicBezTo>
                        <a:cubicBezTo>
                          <a:pt x="171" y="315"/>
                          <a:pt x="175" y="315"/>
                          <a:pt x="178" y="315"/>
                        </a:cubicBezTo>
                        <a:cubicBezTo>
                          <a:pt x="178" y="314"/>
                          <a:pt x="178" y="312"/>
                          <a:pt x="179" y="312"/>
                        </a:cubicBezTo>
                        <a:cubicBezTo>
                          <a:pt x="180" y="311"/>
                          <a:pt x="181" y="311"/>
                          <a:pt x="181" y="310"/>
                        </a:cubicBezTo>
                        <a:cubicBezTo>
                          <a:pt x="181" y="308"/>
                          <a:pt x="182" y="306"/>
                          <a:pt x="181" y="304"/>
                        </a:cubicBezTo>
                        <a:cubicBezTo>
                          <a:pt x="180" y="300"/>
                          <a:pt x="170" y="303"/>
                          <a:pt x="167" y="300"/>
                        </a:cubicBezTo>
                        <a:cubicBezTo>
                          <a:pt x="169" y="299"/>
                          <a:pt x="173" y="297"/>
                          <a:pt x="174" y="296"/>
                        </a:cubicBezTo>
                        <a:cubicBezTo>
                          <a:pt x="176" y="294"/>
                          <a:pt x="175" y="290"/>
                          <a:pt x="175" y="288"/>
                        </a:cubicBezTo>
                        <a:cubicBezTo>
                          <a:pt x="175" y="288"/>
                          <a:pt x="174" y="288"/>
                          <a:pt x="174" y="288"/>
                        </a:cubicBezTo>
                        <a:cubicBezTo>
                          <a:pt x="175" y="285"/>
                          <a:pt x="174" y="282"/>
                          <a:pt x="174" y="280"/>
                        </a:cubicBezTo>
                        <a:cubicBezTo>
                          <a:pt x="177" y="280"/>
                          <a:pt x="182" y="281"/>
                          <a:pt x="183" y="278"/>
                        </a:cubicBezTo>
                        <a:cubicBezTo>
                          <a:pt x="185" y="276"/>
                          <a:pt x="185" y="273"/>
                          <a:pt x="185" y="271"/>
                        </a:cubicBezTo>
                        <a:cubicBezTo>
                          <a:pt x="186" y="269"/>
                          <a:pt x="192" y="271"/>
                          <a:pt x="193" y="272"/>
                        </a:cubicBezTo>
                        <a:cubicBezTo>
                          <a:pt x="196" y="276"/>
                          <a:pt x="196" y="270"/>
                          <a:pt x="199" y="271"/>
                        </a:cubicBezTo>
                        <a:cubicBezTo>
                          <a:pt x="200" y="272"/>
                          <a:pt x="201" y="274"/>
                          <a:pt x="202" y="274"/>
                        </a:cubicBezTo>
                        <a:cubicBezTo>
                          <a:pt x="204" y="275"/>
                          <a:pt x="205" y="275"/>
                          <a:pt x="206" y="275"/>
                        </a:cubicBezTo>
                        <a:cubicBezTo>
                          <a:pt x="206" y="275"/>
                          <a:pt x="206" y="275"/>
                          <a:pt x="206" y="275"/>
                        </a:cubicBezTo>
                        <a:cubicBezTo>
                          <a:pt x="207" y="274"/>
                          <a:pt x="207" y="272"/>
                          <a:pt x="209" y="271"/>
                        </a:cubicBezTo>
                        <a:cubicBezTo>
                          <a:pt x="210" y="270"/>
                          <a:pt x="213" y="270"/>
                          <a:pt x="213" y="269"/>
                        </a:cubicBezTo>
                        <a:cubicBezTo>
                          <a:pt x="211" y="269"/>
                          <a:pt x="208" y="266"/>
                          <a:pt x="211" y="265"/>
                        </a:cubicBezTo>
                        <a:cubicBezTo>
                          <a:pt x="214" y="265"/>
                          <a:pt x="215" y="270"/>
                          <a:pt x="217" y="270"/>
                        </a:cubicBezTo>
                        <a:cubicBezTo>
                          <a:pt x="220" y="270"/>
                          <a:pt x="217" y="264"/>
                          <a:pt x="218" y="263"/>
                        </a:cubicBezTo>
                        <a:cubicBezTo>
                          <a:pt x="218" y="260"/>
                          <a:pt x="220" y="260"/>
                          <a:pt x="222" y="260"/>
                        </a:cubicBezTo>
                        <a:cubicBezTo>
                          <a:pt x="222" y="259"/>
                          <a:pt x="222" y="257"/>
                          <a:pt x="223" y="257"/>
                        </a:cubicBezTo>
                        <a:cubicBezTo>
                          <a:pt x="224" y="255"/>
                          <a:pt x="225" y="249"/>
                          <a:pt x="224" y="249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2" name="Freeform 304">
                    <a:extLst>
                      <a:ext uri="{FF2B5EF4-FFF2-40B4-BE49-F238E27FC236}">
                        <a16:creationId xmlns:a16="http://schemas.microsoft.com/office/drawing/2014/main" xmlns="" id="{1435A82A-2E54-48DD-BE65-9FCE67697BC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57563" y="5692776"/>
                    <a:ext cx="3175" cy="3175"/>
                  </a:xfrm>
                  <a:custGeom>
                    <a:avLst/>
                    <a:gdLst>
                      <a:gd name="T0" fmla="*/ 0 w 1"/>
                      <a:gd name="T1" fmla="*/ 0 h 1"/>
                      <a:gd name="T2" fmla="*/ 0 w 1"/>
                      <a:gd name="T3" fmla="*/ 0 h 1"/>
                      <a:gd name="T4" fmla="*/ 1 w 1"/>
                      <a:gd name="T5" fmla="*/ 1 h 1"/>
                      <a:gd name="T6" fmla="*/ 0 w 1"/>
                      <a:gd name="T7" fmla="*/ 0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" h="1"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" y="0"/>
                          <a:pt x="1" y="1"/>
                          <a:pt x="1" y="1"/>
                        </a:cubicBezTo>
                        <a:cubicBezTo>
                          <a:pt x="1" y="1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3" name="Freeform 305">
                    <a:extLst>
                      <a:ext uri="{FF2B5EF4-FFF2-40B4-BE49-F238E27FC236}">
                        <a16:creationId xmlns:a16="http://schemas.microsoft.com/office/drawing/2014/main" xmlns="" id="{2E385728-F358-4FA5-8F65-5439DBEF4C4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17888" y="5229226"/>
                    <a:ext cx="738188" cy="947738"/>
                  </a:xfrm>
                  <a:custGeom>
                    <a:avLst/>
                    <a:gdLst>
                      <a:gd name="T0" fmla="*/ 121 w 209"/>
                      <a:gd name="T1" fmla="*/ 214 h 268"/>
                      <a:gd name="T2" fmla="*/ 104 w 209"/>
                      <a:gd name="T3" fmla="*/ 218 h 268"/>
                      <a:gd name="T4" fmla="*/ 95 w 209"/>
                      <a:gd name="T5" fmla="*/ 224 h 268"/>
                      <a:gd name="T6" fmla="*/ 90 w 209"/>
                      <a:gd name="T7" fmla="*/ 242 h 268"/>
                      <a:gd name="T8" fmla="*/ 90 w 209"/>
                      <a:gd name="T9" fmla="*/ 246 h 268"/>
                      <a:gd name="T10" fmla="*/ 81 w 209"/>
                      <a:gd name="T11" fmla="*/ 256 h 268"/>
                      <a:gd name="T12" fmla="*/ 72 w 209"/>
                      <a:gd name="T13" fmla="*/ 262 h 268"/>
                      <a:gd name="T14" fmla="*/ 61 w 209"/>
                      <a:gd name="T15" fmla="*/ 267 h 268"/>
                      <a:gd name="T16" fmla="*/ 54 w 209"/>
                      <a:gd name="T17" fmla="*/ 268 h 268"/>
                      <a:gd name="T18" fmla="*/ 39 w 209"/>
                      <a:gd name="T19" fmla="*/ 255 h 268"/>
                      <a:gd name="T20" fmla="*/ 42 w 209"/>
                      <a:gd name="T21" fmla="*/ 247 h 268"/>
                      <a:gd name="T22" fmla="*/ 46 w 209"/>
                      <a:gd name="T23" fmla="*/ 232 h 268"/>
                      <a:gd name="T24" fmla="*/ 50 w 209"/>
                      <a:gd name="T25" fmla="*/ 207 h 268"/>
                      <a:gd name="T26" fmla="*/ 43 w 209"/>
                      <a:gd name="T27" fmla="*/ 192 h 268"/>
                      <a:gd name="T28" fmla="*/ 47 w 209"/>
                      <a:gd name="T29" fmla="*/ 170 h 268"/>
                      <a:gd name="T30" fmla="*/ 35 w 209"/>
                      <a:gd name="T31" fmla="*/ 162 h 268"/>
                      <a:gd name="T32" fmla="*/ 28 w 209"/>
                      <a:gd name="T33" fmla="*/ 147 h 268"/>
                      <a:gd name="T34" fmla="*/ 21 w 209"/>
                      <a:gd name="T35" fmla="*/ 121 h 268"/>
                      <a:gd name="T36" fmla="*/ 10 w 209"/>
                      <a:gd name="T37" fmla="*/ 112 h 268"/>
                      <a:gd name="T38" fmla="*/ 5 w 209"/>
                      <a:gd name="T39" fmla="*/ 100 h 268"/>
                      <a:gd name="T40" fmla="*/ 10 w 209"/>
                      <a:gd name="T41" fmla="*/ 88 h 268"/>
                      <a:gd name="T42" fmla="*/ 26 w 209"/>
                      <a:gd name="T43" fmla="*/ 92 h 268"/>
                      <a:gd name="T44" fmla="*/ 45 w 209"/>
                      <a:gd name="T45" fmla="*/ 86 h 268"/>
                      <a:gd name="T46" fmla="*/ 64 w 209"/>
                      <a:gd name="T47" fmla="*/ 79 h 268"/>
                      <a:gd name="T48" fmla="*/ 77 w 209"/>
                      <a:gd name="T49" fmla="*/ 66 h 268"/>
                      <a:gd name="T50" fmla="*/ 70 w 209"/>
                      <a:gd name="T51" fmla="*/ 50 h 268"/>
                      <a:gd name="T52" fmla="*/ 89 w 209"/>
                      <a:gd name="T53" fmla="*/ 34 h 268"/>
                      <a:gd name="T54" fmla="*/ 103 w 209"/>
                      <a:gd name="T55" fmla="*/ 40 h 268"/>
                      <a:gd name="T56" fmla="*/ 123 w 209"/>
                      <a:gd name="T57" fmla="*/ 28 h 268"/>
                      <a:gd name="T58" fmla="*/ 146 w 209"/>
                      <a:gd name="T59" fmla="*/ 26 h 268"/>
                      <a:gd name="T60" fmla="*/ 161 w 209"/>
                      <a:gd name="T61" fmla="*/ 19 h 268"/>
                      <a:gd name="T62" fmla="*/ 173 w 209"/>
                      <a:gd name="T63" fmla="*/ 15 h 268"/>
                      <a:gd name="T64" fmla="*/ 187 w 209"/>
                      <a:gd name="T65" fmla="*/ 11 h 268"/>
                      <a:gd name="T66" fmla="*/ 197 w 209"/>
                      <a:gd name="T67" fmla="*/ 2 h 268"/>
                      <a:gd name="T68" fmla="*/ 202 w 209"/>
                      <a:gd name="T69" fmla="*/ 3 h 268"/>
                      <a:gd name="T70" fmla="*/ 205 w 209"/>
                      <a:gd name="T71" fmla="*/ 33 h 268"/>
                      <a:gd name="T72" fmla="*/ 196 w 209"/>
                      <a:gd name="T73" fmla="*/ 52 h 268"/>
                      <a:gd name="T74" fmla="*/ 197 w 209"/>
                      <a:gd name="T75" fmla="*/ 58 h 268"/>
                      <a:gd name="T76" fmla="*/ 187 w 209"/>
                      <a:gd name="T77" fmla="*/ 67 h 268"/>
                      <a:gd name="T78" fmla="*/ 185 w 209"/>
                      <a:gd name="T79" fmla="*/ 72 h 268"/>
                      <a:gd name="T80" fmla="*/ 184 w 209"/>
                      <a:gd name="T81" fmla="*/ 76 h 268"/>
                      <a:gd name="T82" fmla="*/ 180 w 209"/>
                      <a:gd name="T83" fmla="*/ 95 h 268"/>
                      <a:gd name="T84" fmla="*/ 181 w 209"/>
                      <a:gd name="T85" fmla="*/ 109 h 268"/>
                      <a:gd name="T86" fmla="*/ 182 w 209"/>
                      <a:gd name="T87" fmla="*/ 158 h 268"/>
                      <a:gd name="T88" fmla="*/ 181 w 209"/>
                      <a:gd name="T89" fmla="*/ 162 h 268"/>
                      <a:gd name="T90" fmla="*/ 181 w 209"/>
                      <a:gd name="T91" fmla="*/ 160 h 268"/>
                      <a:gd name="T92" fmla="*/ 168 w 209"/>
                      <a:gd name="T93" fmla="*/ 159 h 268"/>
                      <a:gd name="T94" fmla="*/ 162 w 209"/>
                      <a:gd name="T95" fmla="*/ 161 h 268"/>
                      <a:gd name="T96" fmla="*/ 152 w 209"/>
                      <a:gd name="T97" fmla="*/ 167 h 268"/>
                      <a:gd name="T98" fmla="*/ 148 w 209"/>
                      <a:gd name="T99" fmla="*/ 177 h 268"/>
                      <a:gd name="T100" fmla="*/ 135 w 209"/>
                      <a:gd name="T101" fmla="*/ 206 h 268"/>
                      <a:gd name="T102" fmla="*/ 144 w 209"/>
                      <a:gd name="T103" fmla="*/ 211 h 2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209" h="268">
                        <a:moveTo>
                          <a:pt x="128" y="212"/>
                        </a:moveTo>
                        <a:cubicBezTo>
                          <a:pt x="127" y="212"/>
                          <a:pt x="127" y="212"/>
                          <a:pt x="126" y="212"/>
                        </a:cubicBezTo>
                        <a:cubicBezTo>
                          <a:pt x="125" y="212"/>
                          <a:pt x="125" y="213"/>
                          <a:pt x="124" y="213"/>
                        </a:cubicBezTo>
                        <a:cubicBezTo>
                          <a:pt x="124" y="213"/>
                          <a:pt x="122" y="214"/>
                          <a:pt x="121" y="214"/>
                        </a:cubicBezTo>
                        <a:cubicBezTo>
                          <a:pt x="121" y="215"/>
                          <a:pt x="121" y="215"/>
                          <a:pt x="121" y="215"/>
                        </a:cubicBezTo>
                        <a:cubicBezTo>
                          <a:pt x="120" y="215"/>
                          <a:pt x="119" y="215"/>
                          <a:pt x="118" y="216"/>
                        </a:cubicBezTo>
                        <a:cubicBezTo>
                          <a:pt x="115" y="217"/>
                          <a:pt x="112" y="217"/>
                          <a:pt x="108" y="218"/>
                        </a:cubicBezTo>
                        <a:cubicBezTo>
                          <a:pt x="107" y="218"/>
                          <a:pt x="105" y="218"/>
                          <a:pt x="104" y="218"/>
                        </a:cubicBezTo>
                        <a:cubicBezTo>
                          <a:pt x="103" y="219"/>
                          <a:pt x="103" y="221"/>
                          <a:pt x="102" y="222"/>
                        </a:cubicBezTo>
                        <a:cubicBezTo>
                          <a:pt x="100" y="222"/>
                          <a:pt x="99" y="222"/>
                          <a:pt x="98" y="223"/>
                        </a:cubicBezTo>
                        <a:cubicBezTo>
                          <a:pt x="97" y="223"/>
                          <a:pt x="97" y="224"/>
                          <a:pt x="96" y="224"/>
                        </a:cubicBezTo>
                        <a:cubicBezTo>
                          <a:pt x="96" y="224"/>
                          <a:pt x="95" y="224"/>
                          <a:pt x="95" y="224"/>
                        </a:cubicBezTo>
                        <a:cubicBezTo>
                          <a:pt x="94" y="225"/>
                          <a:pt x="93" y="228"/>
                          <a:pt x="93" y="229"/>
                        </a:cubicBezTo>
                        <a:cubicBezTo>
                          <a:pt x="93" y="231"/>
                          <a:pt x="94" y="234"/>
                          <a:pt x="93" y="236"/>
                        </a:cubicBezTo>
                        <a:cubicBezTo>
                          <a:pt x="93" y="237"/>
                          <a:pt x="92" y="238"/>
                          <a:pt x="91" y="239"/>
                        </a:cubicBezTo>
                        <a:cubicBezTo>
                          <a:pt x="90" y="240"/>
                          <a:pt x="91" y="241"/>
                          <a:pt x="90" y="242"/>
                        </a:cubicBezTo>
                        <a:cubicBezTo>
                          <a:pt x="89" y="242"/>
                          <a:pt x="85" y="241"/>
                          <a:pt x="85" y="243"/>
                        </a:cubicBezTo>
                        <a:cubicBezTo>
                          <a:pt x="86" y="243"/>
                          <a:pt x="87" y="243"/>
                          <a:pt x="88" y="243"/>
                        </a:cubicBezTo>
                        <a:cubicBezTo>
                          <a:pt x="88" y="242"/>
                          <a:pt x="90" y="243"/>
                          <a:pt x="90" y="243"/>
                        </a:cubicBezTo>
                        <a:cubicBezTo>
                          <a:pt x="91" y="244"/>
                          <a:pt x="90" y="245"/>
                          <a:pt x="90" y="246"/>
                        </a:cubicBezTo>
                        <a:cubicBezTo>
                          <a:pt x="90" y="247"/>
                          <a:pt x="90" y="247"/>
                          <a:pt x="89" y="248"/>
                        </a:cubicBezTo>
                        <a:cubicBezTo>
                          <a:pt x="89" y="248"/>
                          <a:pt x="88" y="249"/>
                          <a:pt x="88" y="250"/>
                        </a:cubicBezTo>
                        <a:cubicBezTo>
                          <a:pt x="87" y="252"/>
                          <a:pt x="87" y="253"/>
                          <a:pt x="85" y="254"/>
                        </a:cubicBezTo>
                        <a:cubicBezTo>
                          <a:pt x="84" y="255"/>
                          <a:pt x="83" y="256"/>
                          <a:pt x="81" y="256"/>
                        </a:cubicBezTo>
                        <a:cubicBezTo>
                          <a:pt x="81" y="257"/>
                          <a:pt x="80" y="257"/>
                          <a:pt x="79" y="258"/>
                        </a:cubicBezTo>
                        <a:cubicBezTo>
                          <a:pt x="79" y="258"/>
                          <a:pt x="78" y="258"/>
                          <a:pt x="77" y="258"/>
                        </a:cubicBezTo>
                        <a:cubicBezTo>
                          <a:pt x="77" y="258"/>
                          <a:pt x="75" y="258"/>
                          <a:pt x="75" y="259"/>
                        </a:cubicBezTo>
                        <a:cubicBezTo>
                          <a:pt x="73" y="259"/>
                          <a:pt x="73" y="261"/>
                          <a:pt x="72" y="262"/>
                        </a:cubicBezTo>
                        <a:cubicBezTo>
                          <a:pt x="72" y="263"/>
                          <a:pt x="71" y="263"/>
                          <a:pt x="70" y="263"/>
                        </a:cubicBezTo>
                        <a:cubicBezTo>
                          <a:pt x="69" y="264"/>
                          <a:pt x="67" y="265"/>
                          <a:pt x="66" y="265"/>
                        </a:cubicBezTo>
                        <a:cubicBezTo>
                          <a:pt x="65" y="265"/>
                          <a:pt x="63" y="264"/>
                          <a:pt x="62" y="264"/>
                        </a:cubicBezTo>
                        <a:cubicBezTo>
                          <a:pt x="61" y="265"/>
                          <a:pt x="61" y="266"/>
                          <a:pt x="61" y="267"/>
                        </a:cubicBezTo>
                        <a:cubicBezTo>
                          <a:pt x="60" y="267"/>
                          <a:pt x="60" y="267"/>
                          <a:pt x="60" y="267"/>
                        </a:cubicBezTo>
                        <a:cubicBezTo>
                          <a:pt x="60" y="268"/>
                          <a:pt x="60" y="268"/>
                          <a:pt x="60" y="268"/>
                        </a:cubicBezTo>
                        <a:cubicBezTo>
                          <a:pt x="59" y="268"/>
                          <a:pt x="58" y="268"/>
                          <a:pt x="58" y="268"/>
                        </a:cubicBezTo>
                        <a:cubicBezTo>
                          <a:pt x="57" y="268"/>
                          <a:pt x="55" y="268"/>
                          <a:pt x="54" y="268"/>
                        </a:cubicBezTo>
                        <a:cubicBezTo>
                          <a:pt x="51" y="267"/>
                          <a:pt x="47" y="266"/>
                          <a:pt x="44" y="264"/>
                        </a:cubicBezTo>
                        <a:cubicBezTo>
                          <a:pt x="42" y="264"/>
                          <a:pt x="40" y="263"/>
                          <a:pt x="38" y="261"/>
                        </a:cubicBezTo>
                        <a:cubicBezTo>
                          <a:pt x="36" y="260"/>
                          <a:pt x="36" y="259"/>
                          <a:pt x="35" y="257"/>
                        </a:cubicBezTo>
                        <a:cubicBezTo>
                          <a:pt x="37" y="257"/>
                          <a:pt x="39" y="256"/>
                          <a:pt x="39" y="255"/>
                        </a:cubicBezTo>
                        <a:cubicBezTo>
                          <a:pt x="41" y="255"/>
                          <a:pt x="41" y="255"/>
                          <a:pt x="41" y="255"/>
                        </a:cubicBezTo>
                        <a:cubicBezTo>
                          <a:pt x="41" y="254"/>
                          <a:pt x="41" y="252"/>
                          <a:pt x="41" y="250"/>
                        </a:cubicBezTo>
                        <a:cubicBezTo>
                          <a:pt x="42" y="250"/>
                          <a:pt x="42" y="250"/>
                          <a:pt x="42" y="250"/>
                        </a:cubicBezTo>
                        <a:cubicBezTo>
                          <a:pt x="42" y="249"/>
                          <a:pt x="42" y="248"/>
                          <a:pt x="42" y="247"/>
                        </a:cubicBezTo>
                        <a:cubicBezTo>
                          <a:pt x="47" y="249"/>
                          <a:pt x="45" y="245"/>
                          <a:pt x="44" y="242"/>
                        </a:cubicBezTo>
                        <a:cubicBezTo>
                          <a:pt x="44" y="242"/>
                          <a:pt x="44" y="242"/>
                          <a:pt x="44" y="242"/>
                        </a:cubicBezTo>
                        <a:cubicBezTo>
                          <a:pt x="44" y="240"/>
                          <a:pt x="41" y="238"/>
                          <a:pt x="42" y="236"/>
                        </a:cubicBezTo>
                        <a:cubicBezTo>
                          <a:pt x="42" y="235"/>
                          <a:pt x="44" y="232"/>
                          <a:pt x="46" y="232"/>
                        </a:cubicBezTo>
                        <a:cubicBezTo>
                          <a:pt x="46" y="231"/>
                          <a:pt x="46" y="229"/>
                          <a:pt x="46" y="227"/>
                        </a:cubicBezTo>
                        <a:cubicBezTo>
                          <a:pt x="44" y="227"/>
                          <a:pt x="42" y="223"/>
                          <a:pt x="42" y="221"/>
                        </a:cubicBezTo>
                        <a:cubicBezTo>
                          <a:pt x="41" y="219"/>
                          <a:pt x="44" y="220"/>
                          <a:pt x="45" y="218"/>
                        </a:cubicBezTo>
                        <a:cubicBezTo>
                          <a:pt x="47" y="215"/>
                          <a:pt x="46" y="206"/>
                          <a:pt x="50" y="207"/>
                        </a:cubicBezTo>
                        <a:cubicBezTo>
                          <a:pt x="50" y="205"/>
                          <a:pt x="51" y="200"/>
                          <a:pt x="53" y="199"/>
                        </a:cubicBezTo>
                        <a:cubicBezTo>
                          <a:pt x="56" y="197"/>
                          <a:pt x="52" y="196"/>
                          <a:pt x="52" y="193"/>
                        </a:cubicBezTo>
                        <a:cubicBezTo>
                          <a:pt x="50" y="193"/>
                          <a:pt x="50" y="194"/>
                          <a:pt x="49" y="195"/>
                        </a:cubicBezTo>
                        <a:cubicBezTo>
                          <a:pt x="46" y="195"/>
                          <a:pt x="45" y="192"/>
                          <a:pt x="43" y="192"/>
                        </a:cubicBezTo>
                        <a:cubicBezTo>
                          <a:pt x="46" y="192"/>
                          <a:pt x="43" y="185"/>
                          <a:pt x="47" y="184"/>
                        </a:cubicBezTo>
                        <a:cubicBezTo>
                          <a:pt x="47" y="183"/>
                          <a:pt x="47" y="182"/>
                          <a:pt x="47" y="181"/>
                        </a:cubicBezTo>
                        <a:cubicBezTo>
                          <a:pt x="46" y="181"/>
                          <a:pt x="46" y="181"/>
                          <a:pt x="46" y="181"/>
                        </a:cubicBezTo>
                        <a:cubicBezTo>
                          <a:pt x="46" y="177"/>
                          <a:pt x="54" y="172"/>
                          <a:pt x="47" y="170"/>
                        </a:cubicBezTo>
                        <a:cubicBezTo>
                          <a:pt x="47" y="169"/>
                          <a:pt x="46" y="169"/>
                          <a:pt x="46" y="167"/>
                        </a:cubicBezTo>
                        <a:cubicBezTo>
                          <a:pt x="51" y="168"/>
                          <a:pt x="50" y="158"/>
                          <a:pt x="47" y="157"/>
                        </a:cubicBezTo>
                        <a:cubicBezTo>
                          <a:pt x="45" y="156"/>
                          <a:pt x="42" y="156"/>
                          <a:pt x="41" y="158"/>
                        </a:cubicBezTo>
                        <a:cubicBezTo>
                          <a:pt x="39" y="160"/>
                          <a:pt x="35" y="159"/>
                          <a:pt x="35" y="162"/>
                        </a:cubicBezTo>
                        <a:cubicBezTo>
                          <a:pt x="35" y="163"/>
                          <a:pt x="34" y="163"/>
                          <a:pt x="34" y="163"/>
                        </a:cubicBezTo>
                        <a:cubicBezTo>
                          <a:pt x="33" y="160"/>
                          <a:pt x="31" y="161"/>
                          <a:pt x="30" y="160"/>
                        </a:cubicBezTo>
                        <a:cubicBezTo>
                          <a:pt x="28" y="159"/>
                          <a:pt x="28" y="156"/>
                          <a:pt x="28" y="154"/>
                        </a:cubicBezTo>
                        <a:cubicBezTo>
                          <a:pt x="27" y="151"/>
                          <a:pt x="27" y="149"/>
                          <a:pt x="28" y="147"/>
                        </a:cubicBezTo>
                        <a:cubicBezTo>
                          <a:pt x="29" y="144"/>
                          <a:pt x="28" y="141"/>
                          <a:pt x="30" y="139"/>
                        </a:cubicBezTo>
                        <a:cubicBezTo>
                          <a:pt x="31" y="137"/>
                          <a:pt x="31" y="133"/>
                          <a:pt x="29" y="131"/>
                        </a:cubicBezTo>
                        <a:cubicBezTo>
                          <a:pt x="28" y="130"/>
                          <a:pt x="22" y="127"/>
                          <a:pt x="20" y="127"/>
                        </a:cubicBezTo>
                        <a:cubicBezTo>
                          <a:pt x="21" y="125"/>
                          <a:pt x="20" y="123"/>
                          <a:pt x="21" y="121"/>
                        </a:cubicBezTo>
                        <a:cubicBezTo>
                          <a:pt x="22" y="121"/>
                          <a:pt x="23" y="121"/>
                          <a:pt x="23" y="121"/>
                        </a:cubicBezTo>
                        <a:cubicBezTo>
                          <a:pt x="24" y="119"/>
                          <a:pt x="25" y="114"/>
                          <a:pt x="22" y="113"/>
                        </a:cubicBezTo>
                        <a:cubicBezTo>
                          <a:pt x="18" y="111"/>
                          <a:pt x="13" y="113"/>
                          <a:pt x="9" y="112"/>
                        </a:cubicBezTo>
                        <a:cubicBezTo>
                          <a:pt x="10" y="112"/>
                          <a:pt x="10" y="112"/>
                          <a:pt x="10" y="112"/>
                        </a:cubicBezTo>
                        <a:cubicBezTo>
                          <a:pt x="10" y="111"/>
                          <a:pt x="13" y="106"/>
                          <a:pt x="15" y="106"/>
                        </a:cubicBezTo>
                        <a:cubicBezTo>
                          <a:pt x="15" y="104"/>
                          <a:pt x="13" y="104"/>
                          <a:pt x="12" y="104"/>
                        </a:cubicBezTo>
                        <a:cubicBezTo>
                          <a:pt x="11" y="103"/>
                          <a:pt x="10" y="102"/>
                          <a:pt x="9" y="101"/>
                        </a:cubicBezTo>
                        <a:cubicBezTo>
                          <a:pt x="8" y="100"/>
                          <a:pt x="6" y="101"/>
                          <a:pt x="5" y="100"/>
                        </a:cubicBezTo>
                        <a:cubicBezTo>
                          <a:pt x="4" y="98"/>
                          <a:pt x="2" y="99"/>
                          <a:pt x="0" y="99"/>
                        </a:cubicBezTo>
                        <a:cubicBezTo>
                          <a:pt x="0" y="96"/>
                          <a:pt x="0" y="94"/>
                          <a:pt x="0" y="91"/>
                        </a:cubicBezTo>
                        <a:cubicBezTo>
                          <a:pt x="2" y="92"/>
                          <a:pt x="3" y="93"/>
                          <a:pt x="6" y="93"/>
                        </a:cubicBezTo>
                        <a:cubicBezTo>
                          <a:pt x="6" y="90"/>
                          <a:pt x="10" y="92"/>
                          <a:pt x="10" y="88"/>
                        </a:cubicBezTo>
                        <a:cubicBezTo>
                          <a:pt x="12" y="88"/>
                          <a:pt x="15" y="87"/>
                          <a:pt x="16" y="88"/>
                        </a:cubicBezTo>
                        <a:cubicBezTo>
                          <a:pt x="17" y="89"/>
                          <a:pt x="17" y="93"/>
                          <a:pt x="17" y="93"/>
                        </a:cubicBezTo>
                        <a:cubicBezTo>
                          <a:pt x="18" y="93"/>
                          <a:pt x="19" y="92"/>
                          <a:pt x="21" y="92"/>
                        </a:cubicBezTo>
                        <a:cubicBezTo>
                          <a:pt x="22" y="92"/>
                          <a:pt x="24" y="92"/>
                          <a:pt x="26" y="92"/>
                        </a:cubicBezTo>
                        <a:cubicBezTo>
                          <a:pt x="31" y="92"/>
                          <a:pt x="31" y="92"/>
                          <a:pt x="32" y="88"/>
                        </a:cubicBezTo>
                        <a:cubicBezTo>
                          <a:pt x="32" y="85"/>
                          <a:pt x="35" y="83"/>
                          <a:pt x="38" y="83"/>
                        </a:cubicBezTo>
                        <a:cubicBezTo>
                          <a:pt x="39" y="83"/>
                          <a:pt x="41" y="82"/>
                          <a:pt x="42" y="83"/>
                        </a:cubicBezTo>
                        <a:cubicBezTo>
                          <a:pt x="43" y="84"/>
                          <a:pt x="44" y="86"/>
                          <a:pt x="45" y="86"/>
                        </a:cubicBezTo>
                        <a:cubicBezTo>
                          <a:pt x="45" y="85"/>
                          <a:pt x="46" y="84"/>
                          <a:pt x="45" y="84"/>
                        </a:cubicBezTo>
                        <a:cubicBezTo>
                          <a:pt x="49" y="83"/>
                          <a:pt x="51" y="83"/>
                          <a:pt x="54" y="84"/>
                        </a:cubicBezTo>
                        <a:cubicBezTo>
                          <a:pt x="56" y="84"/>
                          <a:pt x="60" y="86"/>
                          <a:pt x="62" y="86"/>
                        </a:cubicBezTo>
                        <a:cubicBezTo>
                          <a:pt x="62" y="84"/>
                          <a:pt x="62" y="81"/>
                          <a:pt x="64" y="79"/>
                        </a:cubicBezTo>
                        <a:cubicBezTo>
                          <a:pt x="67" y="77"/>
                          <a:pt x="71" y="77"/>
                          <a:pt x="74" y="77"/>
                        </a:cubicBezTo>
                        <a:cubicBezTo>
                          <a:pt x="74" y="76"/>
                          <a:pt x="74" y="74"/>
                          <a:pt x="75" y="74"/>
                        </a:cubicBezTo>
                        <a:cubicBezTo>
                          <a:pt x="76" y="73"/>
                          <a:pt x="77" y="73"/>
                          <a:pt x="77" y="72"/>
                        </a:cubicBezTo>
                        <a:cubicBezTo>
                          <a:pt x="77" y="70"/>
                          <a:pt x="78" y="68"/>
                          <a:pt x="77" y="66"/>
                        </a:cubicBezTo>
                        <a:cubicBezTo>
                          <a:pt x="76" y="62"/>
                          <a:pt x="66" y="65"/>
                          <a:pt x="63" y="62"/>
                        </a:cubicBezTo>
                        <a:cubicBezTo>
                          <a:pt x="65" y="61"/>
                          <a:pt x="69" y="59"/>
                          <a:pt x="70" y="58"/>
                        </a:cubicBezTo>
                        <a:cubicBezTo>
                          <a:pt x="72" y="56"/>
                          <a:pt x="71" y="52"/>
                          <a:pt x="71" y="50"/>
                        </a:cubicBezTo>
                        <a:cubicBezTo>
                          <a:pt x="71" y="50"/>
                          <a:pt x="70" y="50"/>
                          <a:pt x="70" y="50"/>
                        </a:cubicBezTo>
                        <a:cubicBezTo>
                          <a:pt x="71" y="47"/>
                          <a:pt x="70" y="44"/>
                          <a:pt x="70" y="42"/>
                        </a:cubicBezTo>
                        <a:cubicBezTo>
                          <a:pt x="73" y="42"/>
                          <a:pt x="78" y="43"/>
                          <a:pt x="79" y="40"/>
                        </a:cubicBezTo>
                        <a:cubicBezTo>
                          <a:pt x="81" y="38"/>
                          <a:pt x="81" y="35"/>
                          <a:pt x="81" y="33"/>
                        </a:cubicBezTo>
                        <a:cubicBezTo>
                          <a:pt x="82" y="31"/>
                          <a:pt x="88" y="33"/>
                          <a:pt x="89" y="34"/>
                        </a:cubicBezTo>
                        <a:cubicBezTo>
                          <a:pt x="92" y="38"/>
                          <a:pt x="92" y="32"/>
                          <a:pt x="95" y="33"/>
                        </a:cubicBezTo>
                        <a:cubicBezTo>
                          <a:pt x="96" y="34"/>
                          <a:pt x="97" y="36"/>
                          <a:pt x="98" y="36"/>
                        </a:cubicBezTo>
                        <a:cubicBezTo>
                          <a:pt x="100" y="37"/>
                          <a:pt x="101" y="37"/>
                          <a:pt x="102" y="37"/>
                        </a:cubicBezTo>
                        <a:cubicBezTo>
                          <a:pt x="103" y="38"/>
                          <a:pt x="103" y="40"/>
                          <a:pt x="103" y="40"/>
                        </a:cubicBezTo>
                        <a:cubicBezTo>
                          <a:pt x="104" y="42"/>
                          <a:pt x="107" y="43"/>
                          <a:pt x="109" y="44"/>
                        </a:cubicBezTo>
                        <a:cubicBezTo>
                          <a:pt x="112" y="46"/>
                          <a:pt x="115" y="42"/>
                          <a:pt x="117" y="40"/>
                        </a:cubicBezTo>
                        <a:cubicBezTo>
                          <a:pt x="119" y="39"/>
                          <a:pt x="120" y="34"/>
                          <a:pt x="123" y="34"/>
                        </a:cubicBezTo>
                        <a:cubicBezTo>
                          <a:pt x="123" y="32"/>
                          <a:pt x="123" y="30"/>
                          <a:pt x="123" y="28"/>
                        </a:cubicBezTo>
                        <a:cubicBezTo>
                          <a:pt x="123" y="28"/>
                          <a:pt x="123" y="28"/>
                          <a:pt x="123" y="28"/>
                        </a:cubicBezTo>
                        <a:cubicBezTo>
                          <a:pt x="122" y="27"/>
                          <a:pt x="123" y="26"/>
                          <a:pt x="123" y="25"/>
                        </a:cubicBezTo>
                        <a:cubicBezTo>
                          <a:pt x="128" y="23"/>
                          <a:pt x="135" y="21"/>
                          <a:pt x="140" y="22"/>
                        </a:cubicBezTo>
                        <a:cubicBezTo>
                          <a:pt x="143" y="23"/>
                          <a:pt x="143" y="26"/>
                          <a:pt x="146" y="26"/>
                        </a:cubicBezTo>
                        <a:cubicBezTo>
                          <a:pt x="148" y="27"/>
                          <a:pt x="151" y="26"/>
                          <a:pt x="151" y="24"/>
                        </a:cubicBezTo>
                        <a:cubicBezTo>
                          <a:pt x="151" y="24"/>
                          <a:pt x="152" y="24"/>
                          <a:pt x="153" y="24"/>
                        </a:cubicBezTo>
                        <a:cubicBezTo>
                          <a:pt x="153" y="18"/>
                          <a:pt x="156" y="25"/>
                          <a:pt x="158" y="22"/>
                        </a:cubicBezTo>
                        <a:cubicBezTo>
                          <a:pt x="159" y="20"/>
                          <a:pt x="159" y="19"/>
                          <a:pt x="161" y="19"/>
                        </a:cubicBezTo>
                        <a:cubicBezTo>
                          <a:pt x="164" y="18"/>
                          <a:pt x="161" y="15"/>
                          <a:pt x="164" y="14"/>
                        </a:cubicBezTo>
                        <a:cubicBezTo>
                          <a:pt x="159" y="12"/>
                          <a:pt x="163" y="11"/>
                          <a:pt x="166" y="11"/>
                        </a:cubicBezTo>
                        <a:cubicBezTo>
                          <a:pt x="170" y="12"/>
                          <a:pt x="170" y="13"/>
                          <a:pt x="170" y="16"/>
                        </a:cubicBezTo>
                        <a:cubicBezTo>
                          <a:pt x="171" y="16"/>
                          <a:pt x="172" y="16"/>
                          <a:pt x="173" y="15"/>
                        </a:cubicBezTo>
                        <a:cubicBezTo>
                          <a:pt x="173" y="11"/>
                          <a:pt x="177" y="15"/>
                          <a:pt x="177" y="18"/>
                        </a:cubicBezTo>
                        <a:cubicBezTo>
                          <a:pt x="178" y="18"/>
                          <a:pt x="180" y="18"/>
                          <a:pt x="181" y="18"/>
                        </a:cubicBezTo>
                        <a:cubicBezTo>
                          <a:pt x="181" y="13"/>
                          <a:pt x="184" y="14"/>
                          <a:pt x="188" y="14"/>
                        </a:cubicBezTo>
                        <a:cubicBezTo>
                          <a:pt x="188" y="13"/>
                          <a:pt x="186" y="12"/>
                          <a:pt x="187" y="11"/>
                        </a:cubicBezTo>
                        <a:cubicBezTo>
                          <a:pt x="190" y="9"/>
                          <a:pt x="189" y="5"/>
                          <a:pt x="193" y="5"/>
                        </a:cubicBezTo>
                        <a:cubicBezTo>
                          <a:pt x="193" y="4"/>
                          <a:pt x="193" y="2"/>
                          <a:pt x="193" y="1"/>
                        </a:cubicBezTo>
                        <a:cubicBezTo>
                          <a:pt x="194" y="0"/>
                          <a:pt x="195" y="1"/>
                          <a:pt x="196" y="1"/>
                        </a:cubicBezTo>
                        <a:cubicBezTo>
                          <a:pt x="197" y="2"/>
                          <a:pt x="197" y="2"/>
                          <a:pt x="197" y="2"/>
                        </a:cubicBezTo>
                        <a:cubicBezTo>
                          <a:pt x="197" y="2"/>
                          <a:pt x="197" y="3"/>
                          <a:pt x="197" y="4"/>
                        </a:cubicBezTo>
                        <a:cubicBezTo>
                          <a:pt x="199" y="4"/>
                          <a:pt x="199" y="3"/>
                          <a:pt x="200" y="2"/>
                        </a:cubicBezTo>
                        <a:cubicBezTo>
                          <a:pt x="201" y="2"/>
                          <a:pt x="201" y="2"/>
                          <a:pt x="202" y="2"/>
                        </a:cubicBezTo>
                        <a:cubicBezTo>
                          <a:pt x="202" y="3"/>
                          <a:pt x="202" y="3"/>
                          <a:pt x="202" y="3"/>
                        </a:cubicBezTo>
                        <a:cubicBezTo>
                          <a:pt x="204" y="3"/>
                          <a:pt x="205" y="4"/>
                          <a:pt x="205" y="6"/>
                        </a:cubicBezTo>
                        <a:cubicBezTo>
                          <a:pt x="205" y="8"/>
                          <a:pt x="208" y="9"/>
                          <a:pt x="208" y="12"/>
                        </a:cubicBezTo>
                        <a:cubicBezTo>
                          <a:pt x="209" y="15"/>
                          <a:pt x="209" y="19"/>
                          <a:pt x="209" y="22"/>
                        </a:cubicBezTo>
                        <a:cubicBezTo>
                          <a:pt x="209" y="26"/>
                          <a:pt x="205" y="29"/>
                          <a:pt x="205" y="33"/>
                        </a:cubicBezTo>
                        <a:cubicBezTo>
                          <a:pt x="205" y="35"/>
                          <a:pt x="205" y="37"/>
                          <a:pt x="205" y="39"/>
                        </a:cubicBezTo>
                        <a:cubicBezTo>
                          <a:pt x="205" y="41"/>
                          <a:pt x="204" y="42"/>
                          <a:pt x="203" y="44"/>
                        </a:cubicBezTo>
                        <a:cubicBezTo>
                          <a:pt x="202" y="46"/>
                          <a:pt x="200" y="54"/>
                          <a:pt x="197" y="53"/>
                        </a:cubicBezTo>
                        <a:cubicBezTo>
                          <a:pt x="197" y="53"/>
                          <a:pt x="196" y="53"/>
                          <a:pt x="196" y="52"/>
                        </a:cubicBezTo>
                        <a:cubicBezTo>
                          <a:pt x="195" y="52"/>
                          <a:pt x="194" y="52"/>
                          <a:pt x="194" y="52"/>
                        </a:cubicBezTo>
                        <a:cubicBezTo>
                          <a:pt x="194" y="52"/>
                          <a:pt x="195" y="53"/>
                          <a:pt x="195" y="53"/>
                        </a:cubicBezTo>
                        <a:cubicBezTo>
                          <a:pt x="196" y="54"/>
                          <a:pt x="197" y="54"/>
                          <a:pt x="197" y="55"/>
                        </a:cubicBezTo>
                        <a:cubicBezTo>
                          <a:pt x="198" y="56"/>
                          <a:pt x="198" y="57"/>
                          <a:pt x="197" y="58"/>
                        </a:cubicBezTo>
                        <a:cubicBezTo>
                          <a:pt x="196" y="58"/>
                          <a:pt x="196" y="59"/>
                          <a:pt x="195" y="60"/>
                        </a:cubicBezTo>
                        <a:cubicBezTo>
                          <a:pt x="195" y="60"/>
                          <a:pt x="195" y="61"/>
                          <a:pt x="194" y="62"/>
                        </a:cubicBezTo>
                        <a:cubicBezTo>
                          <a:pt x="193" y="63"/>
                          <a:pt x="191" y="65"/>
                          <a:pt x="189" y="66"/>
                        </a:cubicBezTo>
                        <a:cubicBezTo>
                          <a:pt x="189" y="66"/>
                          <a:pt x="188" y="67"/>
                          <a:pt x="187" y="67"/>
                        </a:cubicBezTo>
                        <a:cubicBezTo>
                          <a:pt x="187" y="68"/>
                          <a:pt x="187" y="68"/>
                          <a:pt x="187" y="69"/>
                        </a:cubicBezTo>
                        <a:cubicBezTo>
                          <a:pt x="187" y="70"/>
                          <a:pt x="186" y="70"/>
                          <a:pt x="186" y="70"/>
                        </a:cubicBezTo>
                        <a:cubicBezTo>
                          <a:pt x="186" y="71"/>
                          <a:pt x="186" y="71"/>
                          <a:pt x="186" y="71"/>
                        </a:cubicBezTo>
                        <a:cubicBezTo>
                          <a:pt x="186" y="72"/>
                          <a:pt x="186" y="72"/>
                          <a:pt x="185" y="72"/>
                        </a:cubicBezTo>
                        <a:cubicBezTo>
                          <a:pt x="185" y="72"/>
                          <a:pt x="185" y="71"/>
                          <a:pt x="184" y="70"/>
                        </a:cubicBezTo>
                        <a:cubicBezTo>
                          <a:pt x="183" y="70"/>
                          <a:pt x="181" y="71"/>
                          <a:pt x="181" y="72"/>
                        </a:cubicBezTo>
                        <a:cubicBezTo>
                          <a:pt x="181" y="74"/>
                          <a:pt x="184" y="72"/>
                          <a:pt x="184" y="73"/>
                        </a:cubicBezTo>
                        <a:cubicBezTo>
                          <a:pt x="184" y="74"/>
                          <a:pt x="184" y="75"/>
                          <a:pt x="184" y="76"/>
                        </a:cubicBezTo>
                        <a:cubicBezTo>
                          <a:pt x="183" y="77"/>
                          <a:pt x="183" y="78"/>
                          <a:pt x="183" y="79"/>
                        </a:cubicBezTo>
                        <a:cubicBezTo>
                          <a:pt x="182" y="81"/>
                          <a:pt x="181" y="82"/>
                          <a:pt x="181" y="84"/>
                        </a:cubicBezTo>
                        <a:cubicBezTo>
                          <a:pt x="180" y="85"/>
                          <a:pt x="180" y="88"/>
                          <a:pt x="180" y="89"/>
                        </a:cubicBezTo>
                        <a:cubicBezTo>
                          <a:pt x="180" y="91"/>
                          <a:pt x="180" y="93"/>
                          <a:pt x="180" y="95"/>
                        </a:cubicBezTo>
                        <a:cubicBezTo>
                          <a:pt x="179" y="97"/>
                          <a:pt x="178" y="102"/>
                          <a:pt x="180" y="104"/>
                        </a:cubicBezTo>
                        <a:cubicBezTo>
                          <a:pt x="180" y="105"/>
                          <a:pt x="180" y="104"/>
                          <a:pt x="181" y="105"/>
                        </a:cubicBezTo>
                        <a:cubicBezTo>
                          <a:pt x="181" y="106"/>
                          <a:pt x="180" y="107"/>
                          <a:pt x="180" y="108"/>
                        </a:cubicBezTo>
                        <a:cubicBezTo>
                          <a:pt x="181" y="108"/>
                          <a:pt x="181" y="108"/>
                          <a:pt x="181" y="109"/>
                        </a:cubicBezTo>
                        <a:cubicBezTo>
                          <a:pt x="182" y="111"/>
                          <a:pt x="182" y="114"/>
                          <a:pt x="182" y="117"/>
                        </a:cubicBezTo>
                        <a:cubicBezTo>
                          <a:pt x="181" y="122"/>
                          <a:pt x="181" y="127"/>
                          <a:pt x="181" y="132"/>
                        </a:cubicBezTo>
                        <a:cubicBezTo>
                          <a:pt x="182" y="138"/>
                          <a:pt x="182" y="143"/>
                          <a:pt x="182" y="149"/>
                        </a:cubicBezTo>
                        <a:cubicBezTo>
                          <a:pt x="182" y="152"/>
                          <a:pt x="183" y="155"/>
                          <a:pt x="182" y="158"/>
                        </a:cubicBezTo>
                        <a:cubicBezTo>
                          <a:pt x="182" y="159"/>
                          <a:pt x="182" y="159"/>
                          <a:pt x="182" y="160"/>
                        </a:cubicBezTo>
                        <a:cubicBezTo>
                          <a:pt x="182" y="160"/>
                          <a:pt x="182" y="160"/>
                          <a:pt x="182" y="161"/>
                        </a:cubicBezTo>
                        <a:cubicBezTo>
                          <a:pt x="181" y="161"/>
                          <a:pt x="182" y="162"/>
                          <a:pt x="182" y="162"/>
                        </a:cubicBezTo>
                        <a:cubicBezTo>
                          <a:pt x="181" y="162"/>
                          <a:pt x="181" y="162"/>
                          <a:pt x="181" y="162"/>
                        </a:cubicBezTo>
                        <a:cubicBezTo>
                          <a:pt x="181" y="163"/>
                          <a:pt x="181" y="163"/>
                          <a:pt x="181" y="163"/>
                        </a:cubicBezTo>
                        <a:cubicBezTo>
                          <a:pt x="181" y="162"/>
                          <a:pt x="181" y="162"/>
                          <a:pt x="181" y="162"/>
                        </a:cubicBezTo>
                        <a:cubicBezTo>
                          <a:pt x="180" y="162"/>
                          <a:pt x="179" y="163"/>
                          <a:pt x="179" y="162"/>
                        </a:cubicBezTo>
                        <a:cubicBezTo>
                          <a:pt x="180" y="162"/>
                          <a:pt x="182" y="161"/>
                          <a:pt x="181" y="160"/>
                        </a:cubicBezTo>
                        <a:cubicBezTo>
                          <a:pt x="180" y="159"/>
                          <a:pt x="179" y="160"/>
                          <a:pt x="178" y="160"/>
                        </a:cubicBezTo>
                        <a:cubicBezTo>
                          <a:pt x="178" y="160"/>
                          <a:pt x="177" y="159"/>
                          <a:pt x="176" y="159"/>
                        </a:cubicBezTo>
                        <a:cubicBezTo>
                          <a:pt x="176" y="159"/>
                          <a:pt x="175" y="159"/>
                          <a:pt x="174" y="159"/>
                        </a:cubicBezTo>
                        <a:cubicBezTo>
                          <a:pt x="172" y="159"/>
                          <a:pt x="170" y="159"/>
                          <a:pt x="168" y="159"/>
                        </a:cubicBezTo>
                        <a:cubicBezTo>
                          <a:pt x="168" y="158"/>
                          <a:pt x="167" y="158"/>
                          <a:pt x="166" y="159"/>
                        </a:cubicBezTo>
                        <a:cubicBezTo>
                          <a:pt x="167" y="160"/>
                          <a:pt x="167" y="161"/>
                          <a:pt x="167" y="161"/>
                        </a:cubicBezTo>
                        <a:cubicBezTo>
                          <a:pt x="166" y="162"/>
                          <a:pt x="165" y="161"/>
                          <a:pt x="164" y="161"/>
                        </a:cubicBezTo>
                        <a:cubicBezTo>
                          <a:pt x="163" y="161"/>
                          <a:pt x="163" y="161"/>
                          <a:pt x="162" y="161"/>
                        </a:cubicBezTo>
                        <a:cubicBezTo>
                          <a:pt x="161" y="160"/>
                          <a:pt x="160" y="160"/>
                          <a:pt x="160" y="160"/>
                        </a:cubicBezTo>
                        <a:cubicBezTo>
                          <a:pt x="158" y="160"/>
                          <a:pt x="157" y="160"/>
                          <a:pt x="156" y="161"/>
                        </a:cubicBezTo>
                        <a:cubicBezTo>
                          <a:pt x="155" y="161"/>
                          <a:pt x="153" y="163"/>
                          <a:pt x="152" y="164"/>
                        </a:cubicBezTo>
                        <a:cubicBezTo>
                          <a:pt x="152" y="165"/>
                          <a:pt x="152" y="166"/>
                          <a:pt x="152" y="167"/>
                        </a:cubicBezTo>
                        <a:cubicBezTo>
                          <a:pt x="150" y="166"/>
                          <a:pt x="150" y="171"/>
                          <a:pt x="150" y="172"/>
                        </a:cubicBezTo>
                        <a:cubicBezTo>
                          <a:pt x="151" y="172"/>
                          <a:pt x="153" y="173"/>
                          <a:pt x="151" y="174"/>
                        </a:cubicBezTo>
                        <a:cubicBezTo>
                          <a:pt x="151" y="175"/>
                          <a:pt x="150" y="174"/>
                          <a:pt x="149" y="175"/>
                        </a:cubicBezTo>
                        <a:cubicBezTo>
                          <a:pt x="149" y="175"/>
                          <a:pt x="148" y="176"/>
                          <a:pt x="148" y="177"/>
                        </a:cubicBezTo>
                        <a:cubicBezTo>
                          <a:pt x="146" y="179"/>
                          <a:pt x="143" y="180"/>
                          <a:pt x="143" y="183"/>
                        </a:cubicBezTo>
                        <a:cubicBezTo>
                          <a:pt x="141" y="184"/>
                          <a:pt x="140" y="186"/>
                          <a:pt x="139" y="188"/>
                        </a:cubicBezTo>
                        <a:cubicBezTo>
                          <a:pt x="139" y="190"/>
                          <a:pt x="136" y="191"/>
                          <a:pt x="135" y="193"/>
                        </a:cubicBezTo>
                        <a:cubicBezTo>
                          <a:pt x="133" y="196"/>
                          <a:pt x="130" y="204"/>
                          <a:pt x="135" y="206"/>
                        </a:cubicBezTo>
                        <a:cubicBezTo>
                          <a:pt x="137" y="207"/>
                          <a:pt x="138" y="207"/>
                          <a:pt x="139" y="208"/>
                        </a:cubicBezTo>
                        <a:cubicBezTo>
                          <a:pt x="139" y="209"/>
                          <a:pt x="140" y="209"/>
                          <a:pt x="141" y="209"/>
                        </a:cubicBezTo>
                        <a:cubicBezTo>
                          <a:pt x="141" y="209"/>
                          <a:pt x="141" y="210"/>
                          <a:pt x="142" y="210"/>
                        </a:cubicBezTo>
                        <a:cubicBezTo>
                          <a:pt x="142" y="210"/>
                          <a:pt x="143" y="211"/>
                          <a:pt x="144" y="211"/>
                        </a:cubicBezTo>
                        <a:cubicBezTo>
                          <a:pt x="143" y="211"/>
                          <a:pt x="142" y="212"/>
                          <a:pt x="141" y="212"/>
                        </a:cubicBezTo>
                        <a:cubicBezTo>
                          <a:pt x="139" y="212"/>
                          <a:pt x="137" y="211"/>
                          <a:pt x="136" y="211"/>
                        </a:cubicBezTo>
                        <a:cubicBezTo>
                          <a:pt x="133" y="211"/>
                          <a:pt x="130" y="211"/>
                          <a:pt x="128" y="212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4" name="Freeform 306">
                    <a:extLst>
                      <a:ext uri="{FF2B5EF4-FFF2-40B4-BE49-F238E27FC236}">
                        <a16:creationId xmlns:a16="http://schemas.microsoft.com/office/drawing/2014/main" xmlns="" id="{24901F51-9581-4E22-828F-6A55726403F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46551" y="5243513"/>
                    <a:ext cx="6350" cy="4763"/>
                  </a:xfrm>
                  <a:custGeom>
                    <a:avLst/>
                    <a:gdLst>
                      <a:gd name="T0" fmla="*/ 2 w 2"/>
                      <a:gd name="T1" fmla="*/ 1 h 1"/>
                      <a:gd name="T2" fmla="*/ 0 w 2"/>
                      <a:gd name="T3" fmla="*/ 0 h 1"/>
                      <a:gd name="T4" fmla="*/ 2 w 2"/>
                      <a:gd name="T5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" h="1">
                        <a:moveTo>
                          <a:pt x="2" y="1"/>
                        </a:moveTo>
                        <a:cubicBezTo>
                          <a:pt x="1" y="1"/>
                          <a:pt x="1" y="1"/>
                          <a:pt x="0" y="0"/>
                        </a:cubicBezTo>
                        <a:cubicBezTo>
                          <a:pt x="1" y="1"/>
                          <a:pt x="1" y="1"/>
                          <a:pt x="2" y="1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5" name="Freeform 307">
                    <a:extLst>
                      <a:ext uri="{FF2B5EF4-FFF2-40B4-BE49-F238E27FC236}">
                        <a16:creationId xmlns:a16="http://schemas.microsoft.com/office/drawing/2014/main" xmlns="" id="{7CF6E70A-F042-49F6-8EB5-7EB48030DC6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75076" y="2768601"/>
                    <a:ext cx="20638" cy="3175"/>
                  </a:xfrm>
                  <a:custGeom>
                    <a:avLst/>
                    <a:gdLst>
                      <a:gd name="T0" fmla="*/ 0 w 6"/>
                      <a:gd name="T1" fmla="*/ 1 h 1"/>
                      <a:gd name="T2" fmla="*/ 1 w 6"/>
                      <a:gd name="T3" fmla="*/ 1 h 1"/>
                      <a:gd name="T4" fmla="*/ 1 w 6"/>
                      <a:gd name="T5" fmla="*/ 1 h 1"/>
                      <a:gd name="T6" fmla="*/ 6 w 6"/>
                      <a:gd name="T7" fmla="*/ 0 h 1"/>
                      <a:gd name="T8" fmla="*/ 6 w 6"/>
                      <a:gd name="T9" fmla="*/ 0 h 1"/>
                      <a:gd name="T10" fmla="*/ 0 w 6"/>
                      <a:gd name="T1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6" h="1">
                        <a:moveTo>
                          <a:pt x="0" y="1"/>
                        </a:moveTo>
                        <a:cubicBezTo>
                          <a:pt x="1" y="1"/>
                          <a:pt x="1" y="1"/>
                          <a:pt x="1" y="1"/>
                        </a:cubicBezTo>
                        <a:cubicBezTo>
                          <a:pt x="1" y="1"/>
                          <a:pt x="1" y="1"/>
                          <a:pt x="1" y="1"/>
                        </a:cubicBezTo>
                        <a:cubicBezTo>
                          <a:pt x="2" y="0"/>
                          <a:pt x="4" y="1"/>
                          <a:pt x="6" y="0"/>
                        </a:cubicBezTo>
                        <a:cubicBezTo>
                          <a:pt x="6" y="0"/>
                          <a:pt x="6" y="0"/>
                          <a:pt x="6" y="0"/>
                        </a:cubicBezTo>
                        <a:cubicBezTo>
                          <a:pt x="4" y="1"/>
                          <a:pt x="2" y="0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6" name="Freeform 308">
                    <a:extLst>
                      <a:ext uri="{FF2B5EF4-FFF2-40B4-BE49-F238E27FC236}">
                        <a16:creationId xmlns:a16="http://schemas.microsoft.com/office/drawing/2014/main" xmlns="" id="{E61AF448-DC58-4377-8B5E-FECD662B230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5713" y="2768601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7" name="Freeform 309">
                    <a:extLst>
                      <a:ext uri="{FF2B5EF4-FFF2-40B4-BE49-F238E27FC236}">
                        <a16:creationId xmlns:a16="http://schemas.microsoft.com/office/drawing/2014/main" xmlns="" id="{9336E15B-6CCD-4627-A552-95805B9CB3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5713" y="2768601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" name="Freeform 310">
                    <a:extLst>
                      <a:ext uri="{FF2B5EF4-FFF2-40B4-BE49-F238E27FC236}">
                        <a16:creationId xmlns:a16="http://schemas.microsoft.com/office/drawing/2014/main" xmlns="" id="{CFA3232C-A2C1-443F-9C12-0F5F5B174D9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95713" y="2768601"/>
                    <a:ext cx="3175" cy="0"/>
                  </a:xfrm>
                  <a:custGeom>
                    <a:avLst/>
                    <a:gdLst>
                      <a:gd name="T0" fmla="*/ 0 w 2"/>
                      <a:gd name="T1" fmla="*/ 2 w 2"/>
                      <a:gd name="T2" fmla="*/ 0 w 2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2">
                        <a:moveTo>
                          <a:pt x="0" y="0"/>
                        </a:moveTo>
                        <a:lnTo>
                          <a:pt x="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9" name="Rectangle 311">
                    <a:extLst>
                      <a:ext uri="{FF2B5EF4-FFF2-40B4-BE49-F238E27FC236}">
                        <a16:creationId xmlns:a16="http://schemas.microsoft.com/office/drawing/2014/main" xmlns="" id="{E3D8D497-3865-4DA3-B866-7339812EA5F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798888" y="2768601"/>
                    <a:ext cx="1588" cy="1588"/>
                  </a:xfrm>
                  <a:prstGeom prst="rect">
                    <a:avLst/>
                  </a:pr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0" name="Freeform 312">
                    <a:extLst>
                      <a:ext uri="{FF2B5EF4-FFF2-40B4-BE49-F238E27FC236}">
                        <a16:creationId xmlns:a16="http://schemas.microsoft.com/office/drawing/2014/main" xmlns="" id="{92236B4B-553F-4FF8-B237-F810D78718F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62351" y="2432051"/>
                    <a:ext cx="6350" cy="4763"/>
                  </a:xfrm>
                  <a:custGeom>
                    <a:avLst/>
                    <a:gdLst>
                      <a:gd name="T0" fmla="*/ 0 w 2"/>
                      <a:gd name="T1" fmla="*/ 0 h 1"/>
                      <a:gd name="T2" fmla="*/ 2 w 2"/>
                      <a:gd name="T3" fmla="*/ 1 h 1"/>
                      <a:gd name="T4" fmla="*/ 0 w 2"/>
                      <a:gd name="T5" fmla="*/ 1 h 1"/>
                      <a:gd name="T6" fmla="*/ 0 w 2"/>
                      <a:gd name="T7" fmla="*/ 0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" h="1">
                        <a:moveTo>
                          <a:pt x="0" y="0"/>
                        </a:moveTo>
                        <a:cubicBezTo>
                          <a:pt x="2" y="1"/>
                          <a:pt x="2" y="1"/>
                          <a:pt x="2" y="1"/>
                        </a:cubicBezTo>
                        <a:cubicBezTo>
                          <a:pt x="1" y="1"/>
                          <a:pt x="1" y="1"/>
                          <a:pt x="0" y="1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1" name="Freeform 313">
                    <a:extLst>
                      <a:ext uri="{FF2B5EF4-FFF2-40B4-BE49-F238E27FC236}">
                        <a16:creationId xmlns:a16="http://schemas.microsoft.com/office/drawing/2014/main" xmlns="" id="{20D2C69A-406B-40FB-ACF5-B45DC552A1F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21113" y="2160588"/>
                    <a:ext cx="547688" cy="490538"/>
                  </a:xfrm>
                  <a:custGeom>
                    <a:avLst/>
                    <a:gdLst>
                      <a:gd name="T0" fmla="*/ 65 w 155"/>
                      <a:gd name="T1" fmla="*/ 8 h 139"/>
                      <a:gd name="T2" fmla="*/ 69 w 155"/>
                      <a:gd name="T3" fmla="*/ 3 h 139"/>
                      <a:gd name="T4" fmla="*/ 74 w 155"/>
                      <a:gd name="T5" fmla="*/ 6 h 139"/>
                      <a:gd name="T6" fmla="*/ 80 w 155"/>
                      <a:gd name="T7" fmla="*/ 14 h 139"/>
                      <a:gd name="T8" fmla="*/ 86 w 155"/>
                      <a:gd name="T9" fmla="*/ 21 h 139"/>
                      <a:gd name="T10" fmla="*/ 94 w 155"/>
                      <a:gd name="T11" fmla="*/ 26 h 139"/>
                      <a:gd name="T12" fmla="*/ 104 w 155"/>
                      <a:gd name="T13" fmla="*/ 26 h 139"/>
                      <a:gd name="T14" fmla="*/ 113 w 155"/>
                      <a:gd name="T15" fmla="*/ 33 h 139"/>
                      <a:gd name="T16" fmla="*/ 116 w 155"/>
                      <a:gd name="T17" fmla="*/ 36 h 139"/>
                      <a:gd name="T18" fmla="*/ 120 w 155"/>
                      <a:gd name="T19" fmla="*/ 47 h 139"/>
                      <a:gd name="T20" fmla="*/ 132 w 155"/>
                      <a:gd name="T21" fmla="*/ 49 h 139"/>
                      <a:gd name="T22" fmla="*/ 140 w 155"/>
                      <a:gd name="T23" fmla="*/ 53 h 139"/>
                      <a:gd name="T24" fmla="*/ 148 w 155"/>
                      <a:gd name="T25" fmla="*/ 60 h 139"/>
                      <a:gd name="T26" fmla="*/ 152 w 155"/>
                      <a:gd name="T27" fmla="*/ 67 h 139"/>
                      <a:gd name="T28" fmla="*/ 143 w 155"/>
                      <a:gd name="T29" fmla="*/ 75 h 139"/>
                      <a:gd name="T30" fmla="*/ 137 w 155"/>
                      <a:gd name="T31" fmla="*/ 80 h 139"/>
                      <a:gd name="T32" fmla="*/ 129 w 155"/>
                      <a:gd name="T33" fmla="*/ 86 h 139"/>
                      <a:gd name="T34" fmla="*/ 125 w 155"/>
                      <a:gd name="T35" fmla="*/ 97 h 139"/>
                      <a:gd name="T36" fmla="*/ 125 w 155"/>
                      <a:gd name="T37" fmla="*/ 109 h 139"/>
                      <a:gd name="T38" fmla="*/ 123 w 155"/>
                      <a:gd name="T39" fmla="*/ 111 h 139"/>
                      <a:gd name="T40" fmla="*/ 119 w 155"/>
                      <a:gd name="T41" fmla="*/ 119 h 139"/>
                      <a:gd name="T42" fmla="*/ 111 w 155"/>
                      <a:gd name="T43" fmla="*/ 132 h 139"/>
                      <a:gd name="T44" fmla="*/ 110 w 155"/>
                      <a:gd name="T45" fmla="*/ 138 h 139"/>
                      <a:gd name="T46" fmla="*/ 103 w 155"/>
                      <a:gd name="T47" fmla="*/ 135 h 139"/>
                      <a:gd name="T48" fmla="*/ 100 w 155"/>
                      <a:gd name="T49" fmla="*/ 130 h 139"/>
                      <a:gd name="T50" fmla="*/ 82 w 155"/>
                      <a:gd name="T51" fmla="*/ 130 h 139"/>
                      <a:gd name="T52" fmla="*/ 69 w 155"/>
                      <a:gd name="T53" fmla="*/ 122 h 139"/>
                      <a:gd name="T54" fmla="*/ 57 w 155"/>
                      <a:gd name="T55" fmla="*/ 114 h 139"/>
                      <a:gd name="T56" fmla="*/ 52 w 155"/>
                      <a:gd name="T57" fmla="*/ 106 h 139"/>
                      <a:gd name="T58" fmla="*/ 52 w 155"/>
                      <a:gd name="T59" fmla="*/ 99 h 139"/>
                      <a:gd name="T60" fmla="*/ 37 w 155"/>
                      <a:gd name="T61" fmla="*/ 84 h 139"/>
                      <a:gd name="T62" fmla="*/ 25 w 155"/>
                      <a:gd name="T63" fmla="*/ 88 h 139"/>
                      <a:gd name="T64" fmla="*/ 16 w 155"/>
                      <a:gd name="T65" fmla="*/ 90 h 139"/>
                      <a:gd name="T66" fmla="*/ 7 w 155"/>
                      <a:gd name="T67" fmla="*/ 86 h 139"/>
                      <a:gd name="T68" fmla="*/ 9 w 155"/>
                      <a:gd name="T69" fmla="*/ 71 h 139"/>
                      <a:gd name="T70" fmla="*/ 17 w 155"/>
                      <a:gd name="T71" fmla="*/ 61 h 139"/>
                      <a:gd name="T72" fmla="*/ 1 w 155"/>
                      <a:gd name="T73" fmla="*/ 50 h 139"/>
                      <a:gd name="T74" fmla="*/ 9 w 155"/>
                      <a:gd name="T75" fmla="*/ 47 h 139"/>
                      <a:gd name="T76" fmla="*/ 7 w 155"/>
                      <a:gd name="T77" fmla="*/ 36 h 139"/>
                      <a:gd name="T78" fmla="*/ 11 w 155"/>
                      <a:gd name="T79" fmla="*/ 27 h 139"/>
                      <a:gd name="T80" fmla="*/ 10 w 155"/>
                      <a:gd name="T81" fmla="*/ 23 h 139"/>
                      <a:gd name="T82" fmla="*/ 13 w 155"/>
                      <a:gd name="T83" fmla="*/ 21 h 139"/>
                      <a:gd name="T84" fmla="*/ 24 w 155"/>
                      <a:gd name="T85" fmla="*/ 16 h 139"/>
                      <a:gd name="T86" fmla="*/ 34 w 155"/>
                      <a:gd name="T87" fmla="*/ 10 h 139"/>
                      <a:gd name="T88" fmla="*/ 51 w 155"/>
                      <a:gd name="T89" fmla="*/ 12 h 139"/>
                      <a:gd name="T90" fmla="*/ 68 w 155"/>
                      <a:gd name="T91" fmla="*/ 17 h 139"/>
                      <a:gd name="T92" fmla="*/ 63 w 155"/>
                      <a:gd name="T93" fmla="*/ 9 h 1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155" h="139">
                        <a:moveTo>
                          <a:pt x="63" y="9"/>
                        </a:moveTo>
                        <a:cubicBezTo>
                          <a:pt x="64" y="9"/>
                          <a:pt x="65" y="9"/>
                          <a:pt x="65" y="8"/>
                        </a:cubicBezTo>
                        <a:cubicBezTo>
                          <a:pt x="66" y="6"/>
                          <a:pt x="65" y="5"/>
                          <a:pt x="67" y="4"/>
                        </a:cubicBezTo>
                        <a:cubicBezTo>
                          <a:pt x="67" y="3"/>
                          <a:pt x="69" y="4"/>
                          <a:pt x="69" y="3"/>
                        </a:cubicBezTo>
                        <a:cubicBezTo>
                          <a:pt x="70" y="2"/>
                          <a:pt x="69" y="1"/>
                          <a:pt x="70" y="0"/>
                        </a:cubicBezTo>
                        <a:cubicBezTo>
                          <a:pt x="71" y="0"/>
                          <a:pt x="76" y="6"/>
                          <a:pt x="74" y="6"/>
                        </a:cubicBezTo>
                        <a:cubicBezTo>
                          <a:pt x="75" y="6"/>
                          <a:pt x="76" y="7"/>
                          <a:pt x="77" y="7"/>
                        </a:cubicBezTo>
                        <a:cubicBezTo>
                          <a:pt x="78" y="10"/>
                          <a:pt x="76" y="13"/>
                          <a:pt x="80" y="14"/>
                        </a:cubicBezTo>
                        <a:cubicBezTo>
                          <a:pt x="82" y="15"/>
                          <a:pt x="81" y="17"/>
                          <a:pt x="82" y="18"/>
                        </a:cubicBezTo>
                        <a:cubicBezTo>
                          <a:pt x="83" y="20"/>
                          <a:pt x="85" y="20"/>
                          <a:pt x="86" y="21"/>
                        </a:cubicBezTo>
                        <a:cubicBezTo>
                          <a:pt x="88" y="23"/>
                          <a:pt x="89" y="28"/>
                          <a:pt x="94" y="27"/>
                        </a:cubicBezTo>
                        <a:cubicBezTo>
                          <a:pt x="94" y="26"/>
                          <a:pt x="94" y="26"/>
                          <a:pt x="94" y="26"/>
                        </a:cubicBezTo>
                        <a:cubicBezTo>
                          <a:pt x="95" y="26"/>
                          <a:pt x="97" y="25"/>
                          <a:pt x="98" y="24"/>
                        </a:cubicBezTo>
                        <a:cubicBezTo>
                          <a:pt x="101" y="24"/>
                          <a:pt x="102" y="26"/>
                          <a:pt x="104" y="26"/>
                        </a:cubicBezTo>
                        <a:cubicBezTo>
                          <a:pt x="104" y="28"/>
                          <a:pt x="107" y="32"/>
                          <a:pt x="109" y="32"/>
                        </a:cubicBezTo>
                        <a:cubicBezTo>
                          <a:pt x="110" y="33"/>
                          <a:pt x="111" y="32"/>
                          <a:pt x="113" y="33"/>
                        </a:cubicBezTo>
                        <a:cubicBezTo>
                          <a:pt x="113" y="33"/>
                          <a:pt x="114" y="33"/>
                          <a:pt x="115" y="34"/>
                        </a:cubicBezTo>
                        <a:cubicBezTo>
                          <a:pt x="116" y="35"/>
                          <a:pt x="115" y="35"/>
                          <a:pt x="116" y="36"/>
                        </a:cubicBezTo>
                        <a:cubicBezTo>
                          <a:pt x="117" y="37"/>
                          <a:pt x="117" y="38"/>
                          <a:pt x="119" y="38"/>
                        </a:cubicBezTo>
                        <a:cubicBezTo>
                          <a:pt x="118" y="41"/>
                          <a:pt x="119" y="45"/>
                          <a:pt x="120" y="47"/>
                        </a:cubicBezTo>
                        <a:cubicBezTo>
                          <a:pt x="121" y="48"/>
                          <a:pt x="124" y="48"/>
                          <a:pt x="126" y="48"/>
                        </a:cubicBezTo>
                        <a:cubicBezTo>
                          <a:pt x="128" y="48"/>
                          <a:pt x="130" y="49"/>
                          <a:pt x="132" y="49"/>
                        </a:cubicBezTo>
                        <a:cubicBezTo>
                          <a:pt x="134" y="50"/>
                          <a:pt x="135" y="51"/>
                          <a:pt x="136" y="52"/>
                        </a:cubicBezTo>
                        <a:cubicBezTo>
                          <a:pt x="138" y="52"/>
                          <a:pt x="138" y="52"/>
                          <a:pt x="140" y="53"/>
                        </a:cubicBezTo>
                        <a:cubicBezTo>
                          <a:pt x="142" y="53"/>
                          <a:pt x="142" y="55"/>
                          <a:pt x="143" y="57"/>
                        </a:cubicBezTo>
                        <a:cubicBezTo>
                          <a:pt x="145" y="60"/>
                          <a:pt x="145" y="60"/>
                          <a:pt x="148" y="60"/>
                        </a:cubicBezTo>
                        <a:cubicBezTo>
                          <a:pt x="150" y="61"/>
                          <a:pt x="151" y="62"/>
                          <a:pt x="152" y="63"/>
                        </a:cubicBezTo>
                        <a:cubicBezTo>
                          <a:pt x="152" y="63"/>
                          <a:pt x="155" y="68"/>
                          <a:pt x="152" y="67"/>
                        </a:cubicBezTo>
                        <a:cubicBezTo>
                          <a:pt x="150" y="67"/>
                          <a:pt x="149" y="67"/>
                          <a:pt x="148" y="69"/>
                        </a:cubicBezTo>
                        <a:cubicBezTo>
                          <a:pt x="147" y="71"/>
                          <a:pt x="144" y="73"/>
                          <a:pt x="143" y="75"/>
                        </a:cubicBezTo>
                        <a:cubicBezTo>
                          <a:pt x="142" y="75"/>
                          <a:pt x="140" y="75"/>
                          <a:pt x="138" y="76"/>
                        </a:cubicBezTo>
                        <a:cubicBezTo>
                          <a:pt x="137" y="77"/>
                          <a:pt x="137" y="79"/>
                          <a:pt x="137" y="80"/>
                        </a:cubicBezTo>
                        <a:cubicBezTo>
                          <a:pt x="136" y="82"/>
                          <a:pt x="135" y="83"/>
                          <a:pt x="133" y="84"/>
                        </a:cubicBezTo>
                        <a:cubicBezTo>
                          <a:pt x="132" y="84"/>
                          <a:pt x="130" y="84"/>
                          <a:pt x="129" y="86"/>
                        </a:cubicBezTo>
                        <a:cubicBezTo>
                          <a:pt x="128" y="88"/>
                          <a:pt x="131" y="93"/>
                          <a:pt x="129" y="95"/>
                        </a:cubicBezTo>
                        <a:cubicBezTo>
                          <a:pt x="127" y="97"/>
                          <a:pt x="126" y="96"/>
                          <a:pt x="125" y="97"/>
                        </a:cubicBezTo>
                        <a:cubicBezTo>
                          <a:pt x="124" y="99"/>
                          <a:pt x="125" y="101"/>
                          <a:pt x="123" y="101"/>
                        </a:cubicBezTo>
                        <a:cubicBezTo>
                          <a:pt x="122" y="104"/>
                          <a:pt x="124" y="107"/>
                          <a:pt x="125" y="109"/>
                        </a:cubicBezTo>
                        <a:cubicBezTo>
                          <a:pt x="126" y="109"/>
                          <a:pt x="126" y="110"/>
                          <a:pt x="126" y="111"/>
                        </a:cubicBezTo>
                        <a:cubicBezTo>
                          <a:pt x="125" y="111"/>
                          <a:pt x="124" y="111"/>
                          <a:pt x="123" y="111"/>
                        </a:cubicBezTo>
                        <a:cubicBezTo>
                          <a:pt x="123" y="112"/>
                          <a:pt x="122" y="112"/>
                          <a:pt x="122" y="113"/>
                        </a:cubicBezTo>
                        <a:cubicBezTo>
                          <a:pt x="121" y="114"/>
                          <a:pt x="120" y="117"/>
                          <a:pt x="119" y="119"/>
                        </a:cubicBezTo>
                        <a:cubicBezTo>
                          <a:pt x="117" y="122"/>
                          <a:pt x="115" y="125"/>
                          <a:pt x="113" y="127"/>
                        </a:cubicBezTo>
                        <a:cubicBezTo>
                          <a:pt x="112" y="128"/>
                          <a:pt x="110" y="130"/>
                          <a:pt x="111" y="132"/>
                        </a:cubicBezTo>
                        <a:cubicBezTo>
                          <a:pt x="111" y="133"/>
                          <a:pt x="112" y="134"/>
                          <a:pt x="113" y="134"/>
                        </a:cubicBezTo>
                        <a:cubicBezTo>
                          <a:pt x="111" y="135"/>
                          <a:pt x="111" y="137"/>
                          <a:pt x="110" y="138"/>
                        </a:cubicBezTo>
                        <a:cubicBezTo>
                          <a:pt x="109" y="139"/>
                          <a:pt x="107" y="138"/>
                          <a:pt x="106" y="138"/>
                        </a:cubicBezTo>
                        <a:cubicBezTo>
                          <a:pt x="107" y="135"/>
                          <a:pt x="103" y="137"/>
                          <a:pt x="103" y="135"/>
                        </a:cubicBezTo>
                        <a:cubicBezTo>
                          <a:pt x="102" y="134"/>
                          <a:pt x="101" y="134"/>
                          <a:pt x="100" y="135"/>
                        </a:cubicBezTo>
                        <a:cubicBezTo>
                          <a:pt x="100" y="133"/>
                          <a:pt x="100" y="132"/>
                          <a:pt x="100" y="130"/>
                        </a:cubicBezTo>
                        <a:cubicBezTo>
                          <a:pt x="97" y="130"/>
                          <a:pt x="94" y="132"/>
                          <a:pt x="90" y="131"/>
                        </a:cubicBezTo>
                        <a:cubicBezTo>
                          <a:pt x="87" y="130"/>
                          <a:pt x="85" y="130"/>
                          <a:pt x="82" y="130"/>
                        </a:cubicBezTo>
                        <a:cubicBezTo>
                          <a:pt x="82" y="127"/>
                          <a:pt x="81" y="127"/>
                          <a:pt x="78" y="126"/>
                        </a:cubicBezTo>
                        <a:cubicBezTo>
                          <a:pt x="75" y="125"/>
                          <a:pt x="72" y="122"/>
                          <a:pt x="69" y="122"/>
                        </a:cubicBezTo>
                        <a:cubicBezTo>
                          <a:pt x="69" y="119"/>
                          <a:pt x="69" y="117"/>
                          <a:pt x="64" y="116"/>
                        </a:cubicBezTo>
                        <a:cubicBezTo>
                          <a:pt x="61" y="116"/>
                          <a:pt x="57" y="118"/>
                          <a:pt x="57" y="114"/>
                        </a:cubicBezTo>
                        <a:cubicBezTo>
                          <a:pt x="54" y="113"/>
                          <a:pt x="54" y="110"/>
                          <a:pt x="51" y="109"/>
                        </a:cubicBezTo>
                        <a:cubicBezTo>
                          <a:pt x="51" y="108"/>
                          <a:pt x="52" y="107"/>
                          <a:pt x="52" y="106"/>
                        </a:cubicBezTo>
                        <a:cubicBezTo>
                          <a:pt x="54" y="106"/>
                          <a:pt x="59" y="106"/>
                          <a:pt x="59" y="104"/>
                        </a:cubicBezTo>
                        <a:cubicBezTo>
                          <a:pt x="58" y="102"/>
                          <a:pt x="53" y="100"/>
                          <a:pt x="52" y="99"/>
                        </a:cubicBezTo>
                        <a:cubicBezTo>
                          <a:pt x="49" y="97"/>
                          <a:pt x="45" y="94"/>
                          <a:pt x="42" y="91"/>
                        </a:cubicBezTo>
                        <a:cubicBezTo>
                          <a:pt x="40" y="89"/>
                          <a:pt x="40" y="86"/>
                          <a:pt x="37" y="84"/>
                        </a:cubicBezTo>
                        <a:cubicBezTo>
                          <a:pt x="34" y="82"/>
                          <a:pt x="32" y="85"/>
                          <a:pt x="29" y="84"/>
                        </a:cubicBezTo>
                        <a:cubicBezTo>
                          <a:pt x="27" y="84"/>
                          <a:pt x="27" y="87"/>
                          <a:pt x="25" y="88"/>
                        </a:cubicBezTo>
                        <a:cubicBezTo>
                          <a:pt x="22" y="89"/>
                          <a:pt x="23" y="91"/>
                          <a:pt x="21" y="93"/>
                        </a:cubicBezTo>
                        <a:cubicBezTo>
                          <a:pt x="19" y="94"/>
                          <a:pt x="17" y="90"/>
                          <a:pt x="16" y="90"/>
                        </a:cubicBezTo>
                        <a:cubicBezTo>
                          <a:pt x="17" y="88"/>
                          <a:pt x="16" y="86"/>
                          <a:pt x="16" y="85"/>
                        </a:cubicBezTo>
                        <a:cubicBezTo>
                          <a:pt x="14" y="86"/>
                          <a:pt x="10" y="87"/>
                          <a:pt x="7" y="86"/>
                        </a:cubicBezTo>
                        <a:cubicBezTo>
                          <a:pt x="6" y="85"/>
                          <a:pt x="6" y="81"/>
                          <a:pt x="5" y="79"/>
                        </a:cubicBezTo>
                        <a:cubicBezTo>
                          <a:pt x="3" y="76"/>
                          <a:pt x="7" y="73"/>
                          <a:pt x="9" y="71"/>
                        </a:cubicBezTo>
                        <a:cubicBezTo>
                          <a:pt x="11" y="69"/>
                          <a:pt x="12" y="65"/>
                          <a:pt x="13" y="62"/>
                        </a:cubicBezTo>
                        <a:cubicBezTo>
                          <a:pt x="14" y="62"/>
                          <a:pt x="15" y="61"/>
                          <a:pt x="17" y="61"/>
                        </a:cubicBezTo>
                        <a:cubicBezTo>
                          <a:pt x="13" y="59"/>
                          <a:pt x="9" y="59"/>
                          <a:pt x="6" y="56"/>
                        </a:cubicBezTo>
                        <a:cubicBezTo>
                          <a:pt x="4" y="55"/>
                          <a:pt x="0" y="53"/>
                          <a:pt x="1" y="50"/>
                        </a:cubicBezTo>
                        <a:cubicBezTo>
                          <a:pt x="3" y="49"/>
                          <a:pt x="3" y="49"/>
                          <a:pt x="3" y="49"/>
                        </a:cubicBezTo>
                        <a:cubicBezTo>
                          <a:pt x="5" y="48"/>
                          <a:pt x="7" y="48"/>
                          <a:pt x="9" y="47"/>
                        </a:cubicBezTo>
                        <a:cubicBezTo>
                          <a:pt x="10" y="46"/>
                          <a:pt x="10" y="43"/>
                          <a:pt x="7" y="43"/>
                        </a:cubicBezTo>
                        <a:cubicBezTo>
                          <a:pt x="8" y="41"/>
                          <a:pt x="10" y="36"/>
                          <a:pt x="7" y="36"/>
                        </a:cubicBezTo>
                        <a:cubicBezTo>
                          <a:pt x="7" y="34"/>
                          <a:pt x="9" y="28"/>
                          <a:pt x="11" y="28"/>
                        </a:cubicBezTo>
                        <a:cubicBezTo>
                          <a:pt x="11" y="27"/>
                          <a:pt x="11" y="27"/>
                          <a:pt x="11" y="27"/>
                        </a:cubicBezTo>
                        <a:cubicBezTo>
                          <a:pt x="11" y="27"/>
                          <a:pt x="11" y="27"/>
                          <a:pt x="11" y="27"/>
                        </a:cubicBezTo>
                        <a:cubicBezTo>
                          <a:pt x="10" y="26"/>
                          <a:pt x="10" y="25"/>
                          <a:pt x="10" y="23"/>
                        </a:cubicBezTo>
                        <a:cubicBezTo>
                          <a:pt x="11" y="23"/>
                          <a:pt x="15" y="24"/>
                          <a:pt x="14" y="21"/>
                        </a:cubicBezTo>
                        <a:cubicBezTo>
                          <a:pt x="14" y="22"/>
                          <a:pt x="13" y="21"/>
                          <a:pt x="13" y="21"/>
                        </a:cubicBezTo>
                        <a:cubicBezTo>
                          <a:pt x="13" y="19"/>
                          <a:pt x="17" y="13"/>
                          <a:pt x="20" y="14"/>
                        </a:cubicBezTo>
                        <a:cubicBezTo>
                          <a:pt x="22" y="15"/>
                          <a:pt x="22" y="17"/>
                          <a:pt x="24" y="16"/>
                        </a:cubicBezTo>
                        <a:cubicBezTo>
                          <a:pt x="25" y="16"/>
                          <a:pt x="26" y="13"/>
                          <a:pt x="26" y="12"/>
                        </a:cubicBezTo>
                        <a:cubicBezTo>
                          <a:pt x="28" y="11"/>
                          <a:pt x="32" y="13"/>
                          <a:pt x="34" y="10"/>
                        </a:cubicBezTo>
                        <a:cubicBezTo>
                          <a:pt x="37" y="10"/>
                          <a:pt x="42" y="11"/>
                          <a:pt x="44" y="11"/>
                        </a:cubicBezTo>
                        <a:cubicBezTo>
                          <a:pt x="47" y="12"/>
                          <a:pt x="48" y="12"/>
                          <a:pt x="51" y="12"/>
                        </a:cubicBezTo>
                        <a:cubicBezTo>
                          <a:pt x="54" y="13"/>
                          <a:pt x="61" y="14"/>
                          <a:pt x="61" y="18"/>
                        </a:cubicBezTo>
                        <a:cubicBezTo>
                          <a:pt x="62" y="18"/>
                          <a:pt x="69" y="18"/>
                          <a:pt x="68" y="17"/>
                        </a:cubicBezTo>
                        <a:cubicBezTo>
                          <a:pt x="68" y="16"/>
                          <a:pt x="67" y="14"/>
                          <a:pt x="66" y="13"/>
                        </a:cubicBezTo>
                        <a:cubicBezTo>
                          <a:pt x="65" y="11"/>
                          <a:pt x="64" y="10"/>
                          <a:pt x="63" y="9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2" name="Freeform 314">
                    <a:extLst>
                      <a:ext uri="{FF2B5EF4-FFF2-40B4-BE49-F238E27FC236}">
                        <a16:creationId xmlns:a16="http://schemas.microsoft.com/office/drawing/2014/main" xmlns="" id="{0C68B9BC-08E8-4189-A473-1BC9D288FFD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46538" y="2192338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3" name="Freeform 315">
                    <a:extLst>
                      <a:ext uri="{FF2B5EF4-FFF2-40B4-BE49-F238E27FC236}">
                        <a16:creationId xmlns:a16="http://schemas.microsoft.com/office/drawing/2014/main" xmlns="" id="{C5C498FB-ECDD-4BB9-8A70-4A3ECB4E37B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46538" y="2192338"/>
                    <a:ext cx="3175" cy="0"/>
                  </a:xfrm>
                  <a:custGeom>
                    <a:avLst/>
                    <a:gdLst>
                      <a:gd name="T0" fmla="*/ 0 w 2"/>
                      <a:gd name="T1" fmla="*/ 2 w 2"/>
                      <a:gd name="T2" fmla="*/ 0 w 2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2">
                        <a:moveTo>
                          <a:pt x="0" y="0"/>
                        </a:moveTo>
                        <a:lnTo>
                          <a:pt x="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4" name="Freeform 316">
                    <a:extLst>
                      <a:ext uri="{FF2B5EF4-FFF2-40B4-BE49-F238E27FC236}">
                        <a16:creationId xmlns:a16="http://schemas.microsoft.com/office/drawing/2014/main" xmlns="" id="{7F8741D2-7607-49D3-B499-A0307EE4438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81463" y="1757363"/>
                    <a:ext cx="4763" cy="3175"/>
                  </a:xfrm>
                  <a:custGeom>
                    <a:avLst/>
                    <a:gdLst>
                      <a:gd name="T0" fmla="*/ 0 w 1"/>
                      <a:gd name="T1" fmla="*/ 0 h 1"/>
                      <a:gd name="T2" fmla="*/ 1 w 1"/>
                      <a:gd name="T3" fmla="*/ 1 h 1"/>
                      <a:gd name="T4" fmla="*/ 0 w 1"/>
                      <a:gd name="T5" fmla="*/ 0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" h="1">
                        <a:moveTo>
                          <a:pt x="0" y="0"/>
                        </a:moveTo>
                        <a:cubicBezTo>
                          <a:pt x="0" y="0"/>
                          <a:pt x="1" y="1"/>
                          <a:pt x="1" y="1"/>
                        </a:cubicBezTo>
                        <a:cubicBezTo>
                          <a:pt x="1" y="1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5" name="Freeform 317">
                    <a:extLst>
                      <a:ext uri="{FF2B5EF4-FFF2-40B4-BE49-F238E27FC236}">
                        <a16:creationId xmlns:a16="http://schemas.microsoft.com/office/drawing/2014/main" xmlns="" id="{B02A6412-3146-4FBD-B592-63F516A29F5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78288" y="1735138"/>
                    <a:ext cx="3175" cy="14288"/>
                  </a:xfrm>
                  <a:custGeom>
                    <a:avLst/>
                    <a:gdLst>
                      <a:gd name="T0" fmla="*/ 0 w 1"/>
                      <a:gd name="T1" fmla="*/ 0 h 4"/>
                      <a:gd name="T2" fmla="*/ 0 w 1"/>
                      <a:gd name="T3" fmla="*/ 0 h 4"/>
                      <a:gd name="T4" fmla="*/ 1 w 1"/>
                      <a:gd name="T5" fmla="*/ 4 h 4"/>
                      <a:gd name="T6" fmla="*/ 0 w 1"/>
                      <a:gd name="T7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" h="4"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1"/>
                          <a:pt x="0" y="3"/>
                          <a:pt x="1" y="4"/>
                        </a:cubicBezTo>
                        <a:cubicBezTo>
                          <a:pt x="0" y="3"/>
                          <a:pt x="0" y="1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6" name="Freeform 318">
                    <a:extLst>
                      <a:ext uri="{FF2B5EF4-FFF2-40B4-BE49-F238E27FC236}">
                        <a16:creationId xmlns:a16="http://schemas.microsoft.com/office/drawing/2014/main" xmlns="" id="{BA87A2B6-6223-4710-8CBC-D57337E4A87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94151" y="1987551"/>
                    <a:ext cx="3175" cy="3175"/>
                  </a:xfrm>
                  <a:custGeom>
                    <a:avLst/>
                    <a:gdLst>
                      <a:gd name="T0" fmla="*/ 0 w 1"/>
                      <a:gd name="T1" fmla="*/ 0 h 1"/>
                      <a:gd name="T2" fmla="*/ 1 w 1"/>
                      <a:gd name="T3" fmla="*/ 1 h 1"/>
                      <a:gd name="T4" fmla="*/ 0 w 1"/>
                      <a:gd name="T5" fmla="*/ 0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" h="1">
                        <a:moveTo>
                          <a:pt x="0" y="0"/>
                        </a:moveTo>
                        <a:cubicBezTo>
                          <a:pt x="1" y="0"/>
                          <a:pt x="1" y="1"/>
                          <a:pt x="1" y="1"/>
                        </a:cubicBezTo>
                        <a:cubicBezTo>
                          <a:pt x="1" y="1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7" name="Freeform 319">
                    <a:extLst>
                      <a:ext uri="{FF2B5EF4-FFF2-40B4-BE49-F238E27FC236}">
                        <a16:creationId xmlns:a16="http://schemas.microsoft.com/office/drawing/2014/main" xmlns="" id="{464BF7D1-F386-445D-8035-04ED2494FF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90976" y="1979613"/>
                    <a:ext cx="3175" cy="3175"/>
                  </a:xfrm>
                  <a:custGeom>
                    <a:avLst/>
                    <a:gdLst>
                      <a:gd name="T0" fmla="*/ 0 w 1"/>
                      <a:gd name="T1" fmla="*/ 0 h 1"/>
                      <a:gd name="T2" fmla="*/ 1 w 1"/>
                      <a:gd name="T3" fmla="*/ 1 h 1"/>
                      <a:gd name="T4" fmla="*/ 0 w 1"/>
                      <a:gd name="T5" fmla="*/ 0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" h="1">
                        <a:moveTo>
                          <a:pt x="0" y="0"/>
                        </a:moveTo>
                        <a:cubicBezTo>
                          <a:pt x="1" y="0"/>
                          <a:pt x="1" y="1"/>
                          <a:pt x="1" y="1"/>
                        </a:cubicBezTo>
                        <a:cubicBezTo>
                          <a:pt x="1" y="1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8" name="Freeform 320">
                    <a:extLst>
                      <a:ext uri="{FF2B5EF4-FFF2-40B4-BE49-F238E27FC236}">
                        <a16:creationId xmlns:a16="http://schemas.microsoft.com/office/drawing/2014/main" xmlns="" id="{672EDC83-CABF-4B6C-A5B3-959C52BBDB7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27426" y="1838326"/>
                    <a:ext cx="536575" cy="506413"/>
                  </a:xfrm>
                  <a:custGeom>
                    <a:avLst/>
                    <a:gdLst>
                      <a:gd name="T0" fmla="*/ 146 w 152"/>
                      <a:gd name="T1" fmla="*/ 100 h 143"/>
                      <a:gd name="T2" fmla="*/ 144 w 152"/>
                      <a:gd name="T3" fmla="*/ 93 h 143"/>
                      <a:gd name="T4" fmla="*/ 140 w 152"/>
                      <a:gd name="T5" fmla="*/ 88 h 143"/>
                      <a:gd name="T6" fmla="*/ 143 w 152"/>
                      <a:gd name="T7" fmla="*/ 79 h 143"/>
                      <a:gd name="T8" fmla="*/ 138 w 152"/>
                      <a:gd name="T9" fmla="*/ 63 h 143"/>
                      <a:gd name="T10" fmla="*/ 135 w 152"/>
                      <a:gd name="T11" fmla="*/ 57 h 143"/>
                      <a:gd name="T12" fmla="*/ 131 w 152"/>
                      <a:gd name="T13" fmla="*/ 51 h 143"/>
                      <a:gd name="T14" fmla="*/ 133 w 152"/>
                      <a:gd name="T15" fmla="*/ 45 h 143"/>
                      <a:gd name="T16" fmla="*/ 132 w 152"/>
                      <a:gd name="T17" fmla="*/ 43 h 143"/>
                      <a:gd name="T18" fmla="*/ 127 w 152"/>
                      <a:gd name="T19" fmla="*/ 40 h 143"/>
                      <a:gd name="T20" fmla="*/ 126 w 152"/>
                      <a:gd name="T21" fmla="*/ 39 h 143"/>
                      <a:gd name="T22" fmla="*/ 122 w 152"/>
                      <a:gd name="T23" fmla="*/ 29 h 143"/>
                      <a:gd name="T24" fmla="*/ 117 w 152"/>
                      <a:gd name="T25" fmla="*/ 31 h 143"/>
                      <a:gd name="T26" fmla="*/ 109 w 152"/>
                      <a:gd name="T27" fmla="*/ 30 h 143"/>
                      <a:gd name="T28" fmla="*/ 106 w 152"/>
                      <a:gd name="T29" fmla="*/ 22 h 143"/>
                      <a:gd name="T30" fmla="*/ 102 w 152"/>
                      <a:gd name="T31" fmla="*/ 14 h 143"/>
                      <a:gd name="T32" fmla="*/ 86 w 152"/>
                      <a:gd name="T33" fmla="*/ 18 h 143"/>
                      <a:gd name="T34" fmla="*/ 75 w 152"/>
                      <a:gd name="T35" fmla="*/ 13 h 143"/>
                      <a:gd name="T36" fmla="*/ 67 w 152"/>
                      <a:gd name="T37" fmla="*/ 9 h 143"/>
                      <a:gd name="T38" fmla="*/ 60 w 152"/>
                      <a:gd name="T39" fmla="*/ 6 h 143"/>
                      <a:gd name="T40" fmla="*/ 47 w 152"/>
                      <a:gd name="T41" fmla="*/ 1 h 143"/>
                      <a:gd name="T42" fmla="*/ 34 w 152"/>
                      <a:gd name="T43" fmla="*/ 9 h 143"/>
                      <a:gd name="T44" fmla="*/ 27 w 152"/>
                      <a:gd name="T45" fmla="*/ 12 h 143"/>
                      <a:gd name="T46" fmla="*/ 24 w 152"/>
                      <a:gd name="T47" fmla="*/ 14 h 143"/>
                      <a:gd name="T48" fmla="*/ 19 w 152"/>
                      <a:gd name="T49" fmla="*/ 12 h 143"/>
                      <a:gd name="T50" fmla="*/ 16 w 152"/>
                      <a:gd name="T51" fmla="*/ 16 h 143"/>
                      <a:gd name="T52" fmla="*/ 19 w 152"/>
                      <a:gd name="T53" fmla="*/ 23 h 143"/>
                      <a:gd name="T54" fmla="*/ 15 w 152"/>
                      <a:gd name="T55" fmla="*/ 32 h 143"/>
                      <a:gd name="T56" fmla="*/ 13 w 152"/>
                      <a:gd name="T57" fmla="*/ 33 h 143"/>
                      <a:gd name="T58" fmla="*/ 12 w 152"/>
                      <a:gd name="T59" fmla="*/ 33 h 143"/>
                      <a:gd name="T60" fmla="*/ 16 w 152"/>
                      <a:gd name="T61" fmla="*/ 40 h 143"/>
                      <a:gd name="T62" fmla="*/ 9 w 152"/>
                      <a:gd name="T63" fmla="*/ 46 h 143"/>
                      <a:gd name="T64" fmla="*/ 3 w 152"/>
                      <a:gd name="T65" fmla="*/ 53 h 143"/>
                      <a:gd name="T66" fmla="*/ 6 w 152"/>
                      <a:gd name="T67" fmla="*/ 55 h 143"/>
                      <a:gd name="T68" fmla="*/ 17 w 152"/>
                      <a:gd name="T69" fmla="*/ 66 h 143"/>
                      <a:gd name="T70" fmla="*/ 23 w 152"/>
                      <a:gd name="T71" fmla="*/ 82 h 143"/>
                      <a:gd name="T72" fmla="*/ 30 w 152"/>
                      <a:gd name="T73" fmla="*/ 87 h 143"/>
                      <a:gd name="T74" fmla="*/ 38 w 152"/>
                      <a:gd name="T75" fmla="*/ 92 h 143"/>
                      <a:gd name="T76" fmla="*/ 42 w 152"/>
                      <a:gd name="T77" fmla="*/ 95 h 143"/>
                      <a:gd name="T78" fmla="*/ 42 w 152"/>
                      <a:gd name="T79" fmla="*/ 105 h 143"/>
                      <a:gd name="T80" fmla="*/ 57 w 152"/>
                      <a:gd name="T81" fmla="*/ 117 h 143"/>
                      <a:gd name="T82" fmla="*/ 67 w 152"/>
                      <a:gd name="T83" fmla="*/ 127 h 143"/>
                      <a:gd name="T84" fmla="*/ 74 w 152"/>
                      <a:gd name="T85" fmla="*/ 138 h 143"/>
                      <a:gd name="T86" fmla="*/ 84 w 152"/>
                      <a:gd name="T87" fmla="*/ 141 h 143"/>
                      <a:gd name="T88" fmla="*/ 86 w 152"/>
                      <a:gd name="T89" fmla="*/ 140 h 143"/>
                      <a:gd name="T90" fmla="*/ 92 w 152"/>
                      <a:gd name="T91" fmla="*/ 138 h 143"/>
                      <a:gd name="T92" fmla="*/ 90 w 152"/>
                      <a:gd name="T93" fmla="*/ 127 h 143"/>
                      <a:gd name="T94" fmla="*/ 94 w 152"/>
                      <a:gd name="T95" fmla="*/ 118 h 143"/>
                      <a:gd name="T96" fmla="*/ 93 w 152"/>
                      <a:gd name="T97" fmla="*/ 114 h 143"/>
                      <a:gd name="T98" fmla="*/ 96 w 152"/>
                      <a:gd name="T99" fmla="*/ 112 h 143"/>
                      <a:gd name="T100" fmla="*/ 107 w 152"/>
                      <a:gd name="T101" fmla="*/ 107 h 143"/>
                      <a:gd name="T102" fmla="*/ 117 w 152"/>
                      <a:gd name="T103" fmla="*/ 101 h 143"/>
                      <a:gd name="T104" fmla="*/ 134 w 152"/>
                      <a:gd name="T105" fmla="*/ 103 h 143"/>
                      <a:gd name="T106" fmla="*/ 151 w 152"/>
                      <a:gd name="T107" fmla="*/ 108 h 143"/>
                      <a:gd name="T108" fmla="*/ 146 w 152"/>
                      <a:gd name="T109" fmla="*/ 100 h 1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152" h="143">
                        <a:moveTo>
                          <a:pt x="146" y="100"/>
                        </a:moveTo>
                        <a:cubicBezTo>
                          <a:pt x="146" y="100"/>
                          <a:pt x="146" y="100"/>
                          <a:pt x="146" y="100"/>
                        </a:cubicBezTo>
                        <a:cubicBezTo>
                          <a:pt x="145" y="100"/>
                          <a:pt x="145" y="100"/>
                          <a:pt x="144" y="99"/>
                        </a:cubicBezTo>
                        <a:cubicBezTo>
                          <a:pt x="143" y="98"/>
                          <a:pt x="144" y="95"/>
                          <a:pt x="144" y="93"/>
                        </a:cubicBezTo>
                        <a:cubicBezTo>
                          <a:pt x="143" y="94"/>
                          <a:pt x="142" y="94"/>
                          <a:pt x="142" y="94"/>
                        </a:cubicBezTo>
                        <a:cubicBezTo>
                          <a:pt x="141" y="95"/>
                          <a:pt x="140" y="89"/>
                          <a:pt x="140" y="88"/>
                        </a:cubicBezTo>
                        <a:cubicBezTo>
                          <a:pt x="141" y="87"/>
                          <a:pt x="142" y="86"/>
                          <a:pt x="143" y="85"/>
                        </a:cubicBezTo>
                        <a:cubicBezTo>
                          <a:pt x="143" y="84"/>
                          <a:pt x="143" y="80"/>
                          <a:pt x="143" y="79"/>
                        </a:cubicBezTo>
                        <a:cubicBezTo>
                          <a:pt x="143" y="74"/>
                          <a:pt x="139" y="70"/>
                          <a:pt x="138" y="66"/>
                        </a:cubicBezTo>
                        <a:cubicBezTo>
                          <a:pt x="138" y="65"/>
                          <a:pt x="138" y="63"/>
                          <a:pt x="138" y="63"/>
                        </a:cubicBezTo>
                        <a:cubicBezTo>
                          <a:pt x="137" y="62"/>
                          <a:pt x="137" y="62"/>
                          <a:pt x="136" y="62"/>
                        </a:cubicBezTo>
                        <a:cubicBezTo>
                          <a:pt x="134" y="60"/>
                          <a:pt x="135" y="59"/>
                          <a:pt x="135" y="57"/>
                        </a:cubicBezTo>
                        <a:cubicBezTo>
                          <a:pt x="135" y="56"/>
                          <a:pt x="135" y="55"/>
                          <a:pt x="135" y="54"/>
                        </a:cubicBezTo>
                        <a:cubicBezTo>
                          <a:pt x="134" y="53"/>
                          <a:pt x="131" y="53"/>
                          <a:pt x="131" y="51"/>
                        </a:cubicBezTo>
                        <a:cubicBezTo>
                          <a:pt x="131" y="50"/>
                          <a:pt x="132" y="49"/>
                          <a:pt x="133" y="48"/>
                        </a:cubicBezTo>
                        <a:cubicBezTo>
                          <a:pt x="133" y="47"/>
                          <a:pt x="133" y="46"/>
                          <a:pt x="133" y="45"/>
                        </a:cubicBezTo>
                        <a:cubicBezTo>
                          <a:pt x="133" y="44"/>
                          <a:pt x="133" y="44"/>
                          <a:pt x="133" y="43"/>
                        </a:cubicBezTo>
                        <a:cubicBezTo>
                          <a:pt x="132" y="43"/>
                          <a:pt x="132" y="43"/>
                          <a:pt x="132" y="43"/>
                        </a:cubicBezTo>
                        <a:cubicBezTo>
                          <a:pt x="131" y="43"/>
                          <a:pt x="131" y="43"/>
                          <a:pt x="130" y="42"/>
                        </a:cubicBezTo>
                        <a:cubicBezTo>
                          <a:pt x="129" y="41"/>
                          <a:pt x="129" y="40"/>
                          <a:pt x="127" y="40"/>
                        </a:cubicBezTo>
                        <a:cubicBezTo>
                          <a:pt x="126" y="40"/>
                          <a:pt x="124" y="40"/>
                          <a:pt x="123" y="41"/>
                        </a:cubicBezTo>
                        <a:cubicBezTo>
                          <a:pt x="124" y="40"/>
                          <a:pt x="124" y="38"/>
                          <a:pt x="126" y="39"/>
                        </a:cubicBezTo>
                        <a:cubicBezTo>
                          <a:pt x="127" y="36"/>
                          <a:pt x="130" y="24"/>
                          <a:pt x="123" y="28"/>
                        </a:cubicBezTo>
                        <a:cubicBezTo>
                          <a:pt x="122" y="28"/>
                          <a:pt x="122" y="29"/>
                          <a:pt x="122" y="29"/>
                        </a:cubicBezTo>
                        <a:cubicBezTo>
                          <a:pt x="121" y="29"/>
                          <a:pt x="120" y="29"/>
                          <a:pt x="120" y="29"/>
                        </a:cubicBezTo>
                        <a:cubicBezTo>
                          <a:pt x="119" y="30"/>
                          <a:pt x="119" y="31"/>
                          <a:pt x="117" y="31"/>
                        </a:cubicBezTo>
                        <a:cubicBezTo>
                          <a:pt x="116" y="32"/>
                          <a:pt x="115" y="31"/>
                          <a:pt x="113" y="31"/>
                        </a:cubicBezTo>
                        <a:cubicBezTo>
                          <a:pt x="112" y="30"/>
                          <a:pt x="111" y="31"/>
                          <a:pt x="109" y="30"/>
                        </a:cubicBezTo>
                        <a:cubicBezTo>
                          <a:pt x="109" y="29"/>
                          <a:pt x="110" y="27"/>
                          <a:pt x="109" y="26"/>
                        </a:cubicBezTo>
                        <a:cubicBezTo>
                          <a:pt x="109" y="24"/>
                          <a:pt x="107" y="23"/>
                          <a:pt x="106" y="22"/>
                        </a:cubicBezTo>
                        <a:cubicBezTo>
                          <a:pt x="105" y="20"/>
                          <a:pt x="103" y="20"/>
                          <a:pt x="102" y="18"/>
                        </a:cubicBezTo>
                        <a:cubicBezTo>
                          <a:pt x="101" y="17"/>
                          <a:pt x="102" y="15"/>
                          <a:pt x="102" y="14"/>
                        </a:cubicBezTo>
                        <a:cubicBezTo>
                          <a:pt x="99" y="13"/>
                          <a:pt x="97" y="16"/>
                          <a:pt x="95" y="16"/>
                        </a:cubicBezTo>
                        <a:cubicBezTo>
                          <a:pt x="92" y="17"/>
                          <a:pt x="89" y="18"/>
                          <a:pt x="86" y="18"/>
                        </a:cubicBezTo>
                        <a:cubicBezTo>
                          <a:pt x="83" y="18"/>
                          <a:pt x="80" y="18"/>
                          <a:pt x="78" y="16"/>
                        </a:cubicBezTo>
                        <a:cubicBezTo>
                          <a:pt x="77" y="14"/>
                          <a:pt x="77" y="13"/>
                          <a:pt x="75" y="13"/>
                        </a:cubicBezTo>
                        <a:cubicBezTo>
                          <a:pt x="74" y="13"/>
                          <a:pt x="72" y="13"/>
                          <a:pt x="70" y="13"/>
                        </a:cubicBezTo>
                        <a:cubicBezTo>
                          <a:pt x="70" y="12"/>
                          <a:pt x="68" y="11"/>
                          <a:pt x="67" y="9"/>
                        </a:cubicBezTo>
                        <a:cubicBezTo>
                          <a:pt x="66" y="7"/>
                          <a:pt x="67" y="7"/>
                          <a:pt x="64" y="7"/>
                        </a:cubicBezTo>
                        <a:cubicBezTo>
                          <a:pt x="63" y="7"/>
                          <a:pt x="61" y="7"/>
                          <a:pt x="60" y="6"/>
                        </a:cubicBezTo>
                        <a:cubicBezTo>
                          <a:pt x="58" y="5"/>
                          <a:pt x="59" y="3"/>
                          <a:pt x="59" y="2"/>
                        </a:cubicBezTo>
                        <a:cubicBezTo>
                          <a:pt x="55" y="1"/>
                          <a:pt x="51" y="1"/>
                          <a:pt x="47" y="1"/>
                        </a:cubicBezTo>
                        <a:cubicBezTo>
                          <a:pt x="43" y="1"/>
                          <a:pt x="39" y="0"/>
                          <a:pt x="38" y="4"/>
                        </a:cubicBezTo>
                        <a:cubicBezTo>
                          <a:pt x="36" y="5"/>
                          <a:pt x="37" y="8"/>
                          <a:pt x="34" y="9"/>
                        </a:cubicBezTo>
                        <a:cubicBezTo>
                          <a:pt x="33" y="10"/>
                          <a:pt x="30" y="9"/>
                          <a:pt x="28" y="9"/>
                        </a:cubicBezTo>
                        <a:cubicBezTo>
                          <a:pt x="27" y="10"/>
                          <a:pt x="27" y="11"/>
                          <a:pt x="27" y="12"/>
                        </a:cubicBezTo>
                        <a:cubicBezTo>
                          <a:pt x="26" y="12"/>
                          <a:pt x="26" y="12"/>
                          <a:pt x="25" y="12"/>
                        </a:cubicBezTo>
                        <a:cubicBezTo>
                          <a:pt x="25" y="13"/>
                          <a:pt x="25" y="13"/>
                          <a:pt x="24" y="14"/>
                        </a:cubicBezTo>
                        <a:cubicBezTo>
                          <a:pt x="23" y="15"/>
                          <a:pt x="23" y="15"/>
                          <a:pt x="21" y="14"/>
                        </a:cubicBezTo>
                        <a:cubicBezTo>
                          <a:pt x="20" y="14"/>
                          <a:pt x="20" y="13"/>
                          <a:pt x="19" y="12"/>
                        </a:cubicBezTo>
                        <a:cubicBezTo>
                          <a:pt x="18" y="12"/>
                          <a:pt x="18" y="12"/>
                          <a:pt x="17" y="12"/>
                        </a:cubicBezTo>
                        <a:cubicBezTo>
                          <a:pt x="16" y="14"/>
                          <a:pt x="16" y="15"/>
                          <a:pt x="16" y="16"/>
                        </a:cubicBezTo>
                        <a:cubicBezTo>
                          <a:pt x="18" y="16"/>
                          <a:pt x="19" y="16"/>
                          <a:pt x="19" y="18"/>
                        </a:cubicBezTo>
                        <a:cubicBezTo>
                          <a:pt x="20" y="20"/>
                          <a:pt x="19" y="21"/>
                          <a:pt x="19" y="23"/>
                        </a:cubicBezTo>
                        <a:cubicBezTo>
                          <a:pt x="18" y="26"/>
                          <a:pt x="19" y="29"/>
                          <a:pt x="16" y="31"/>
                        </a:cubicBezTo>
                        <a:cubicBezTo>
                          <a:pt x="16" y="31"/>
                          <a:pt x="15" y="31"/>
                          <a:pt x="15" y="32"/>
                        </a:cubicBezTo>
                        <a:cubicBezTo>
                          <a:pt x="14" y="32"/>
                          <a:pt x="14" y="32"/>
                          <a:pt x="14" y="32"/>
                        </a:cubicBezTo>
                        <a:cubicBezTo>
                          <a:pt x="13" y="32"/>
                          <a:pt x="14" y="33"/>
                          <a:pt x="13" y="33"/>
                        </a:cubicBezTo>
                        <a:cubicBezTo>
                          <a:pt x="13" y="33"/>
                          <a:pt x="12" y="33"/>
                          <a:pt x="12" y="33"/>
                        </a:cubicBezTo>
                        <a:cubicBezTo>
                          <a:pt x="12" y="33"/>
                          <a:pt x="12" y="33"/>
                          <a:pt x="12" y="33"/>
                        </a:cubicBezTo>
                        <a:cubicBezTo>
                          <a:pt x="12" y="34"/>
                          <a:pt x="12" y="35"/>
                          <a:pt x="13" y="35"/>
                        </a:cubicBezTo>
                        <a:cubicBezTo>
                          <a:pt x="14" y="37"/>
                          <a:pt x="16" y="38"/>
                          <a:pt x="16" y="40"/>
                        </a:cubicBezTo>
                        <a:cubicBezTo>
                          <a:pt x="14" y="40"/>
                          <a:pt x="12" y="40"/>
                          <a:pt x="11" y="42"/>
                        </a:cubicBezTo>
                        <a:cubicBezTo>
                          <a:pt x="9" y="46"/>
                          <a:pt x="9" y="46"/>
                          <a:pt x="9" y="46"/>
                        </a:cubicBezTo>
                        <a:cubicBezTo>
                          <a:pt x="7" y="46"/>
                          <a:pt x="3" y="45"/>
                          <a:pt x="4" y="48"/>
                        </a:cubicBezTo>
                        <a:cubicBezTo>
                          <a:pt x="4" y="50"/>
                          <a:pt x="5" y="52"/>
                          <a:pt x="3" y="53"/>
                        </a:cubicBezTo>
                        <a:cubicBezTo>
                          <a:pt x="2" y="53"/>
                          <a:pt x="1" y="53"/>
                          <a:pt x="0" y="54"/>
                        </a:cubicBezTo>
                        <a:cubicBezTo>
                          <a:pt x="2" y="55"/>
                          <a:pt x="4" y="54"/>
                          <a:pt x="6" y="55"/>
                        </a:cubicBezTo>
                        <a:cubicBezTo>
                          <a:pt x="8" y="56"/>
                          <a:pt x="11" y="57"/>
                          <a:pt x="12" y="58"/>
                        </a:cubicBezTo>
                        <a:cubicBezTo>
                          <a:pt x="13" y="59"/>
                          <a:pt x="17" y="65"/>
                          <a:pt x="17" y="66"/>
                        </a:cubicBezTo>
                        <a:cubicBezTo>
                          <a:pt x="10" y="65"/>
                          <a:pt x="18" y="75"/>
                          <a:pt x="19" y="76"/>
                        </a:cubicBezTo>
                        <a:cubicBezTo>
                          <a:pt x="21" y="78"/>
                          <a:pt x="22" y="80"/>
                          <a:pt x="23" y="82"/>
                        </a:cubicBezTo>
                        <a:cubicBezTo>
                          <a:pt x="24" y="84"/>
                          <a:pt x="23" y="87"/>
                          <a:pt x="23" y="89"/>
                        </a:cubicBezTo>
                        <a:cubicBezTo>
                          <a:pt x="26" y="89"/>
                          <a:pt x="30" y="90"/>
                          <a:pt x="30" y="87"/>
                        </a:cubicBezTo>
                        <a:cubicBezTo>
                          <a:pt x="31" y="84"/>
                          <a:pt x="32" y="84"/>
                          <a:pt x="34" y="87"/>
                        </a:cubicBezTo>
                        <a:cubicBezTo>
                          <a:pt x="35" y="88"/>
                          <a:pt x="36" y="92"/>
                          <a:pt x="38" y="92"/>
                        </a:cubicBezTo>
                        <a:cubicBezTo>
                          <a:pt x="40" y="93"/>
                          <a:pt x="42" y="91"/>
                          <a:pt x="42" y="94"/>
                        </a:cubicBezTo>
                        <a:cubicBezTo>
                          <a:pt x="42" y="95"/>
                          <a:pt x="42" y="95"/>
                          <a:pt x="42" y="95"/>
                        </a:cubicBezTo>
                        <a:cubicBezTo>
                          <a:pt x="42" y="96"/>
                          <a:pt x="43" y="99"/>
                          <a:pt x="43" y="100"/>
                        </a:cubicBezTo>
                        <a:cubicBezTo>
                          <a:pt x="42" y="102"/>
                          <a:pt x="41" y="103"/>
                          <a:pt x="42" y="105"/>
                        </a:cubicBezTo>
                        <a:cubicBezTo>
                          <a:pt x="45" y="108"/>
                          <a:pt x="49" y="108"/>
                          <a:pt x="52" y="110"/>
                        </a:cubicBezTo>
                        <a:cubicBezTo>
                          <a:pt x="54" y="112"/>
                          <a:pt x="55" y="115"/>
                          <a:pt x="57" y="117"/>
                        </a:cubicBezTo>
                        <a:cubicBezTo>
                          <a:pt x="59" y="119"/>
                          <a:pt x="61" y="121"/>
                          <a:pt x="62" y="122"/>
                        </a:cubicBezTo>
                        <a:cubicBezTo>
                          <a:pt x="64" y="124"/>
                          <a:pt x="67" y="125"/>
                          <a:pt x="67" y="127"/>
                        </a:cubicBezTo>
                        <a:cubicBezTo>
                          <a:pt x="67" y="129"/>
                          <a:pt x="67" y="132"/>
                          <a:pt x="67" y="134"/>
                        </a:cubicBezTo>
                        <a:cubicBezTo>
                          <a:pt x="70" y="135"/>
                          <a:pt x="72" y="135"/>
                          <a:pt x="74" y="138"/>
                        </a:cubicBezTo>
                        <a:cubicBezTo>
                          <a:pt x="76" y="140"/>
                          <a:pt x="79" y="139"/>
                          <a:pt x="81" y="140"/>
                        </a:cubicBezTo>
                        <a:cubicBezTo>
                          <a:pt x="81" y="143"/>
                          <a:pt x="82" y="143"/>
                          <a:pt x="84" y="141"/>
                        </a:cubicBezTo>
                        <a:cubicBezTo>
                          <a:pt x="84" y="141"/>
                          <a:pt x="84" y="141"/>
                          <a:pt x="84" y="141"/>
                        </a:cubicBezTo>
                        <a:cubicBezTo>
                          <a:pt x="86" y="140"/>
                          <a:pt x="86" y="140"/>
                          <a:pt x="86" y="140"/>
                        </a:cubicBezTo>
                        <a:cubicBezTo>
                          <a:pt x="86" y="140"/>
                          <a:pt x="86" y="140"/>
                          <a:pt x="86" y="140"/>
                        </a:cubicBezTo>
                        <a:cubicBezTo>
                          <a:pt x="88" y="139"/>
                          <a:pt x="90" y="139"/>
                          <a:pt x="92" y="138"/>
                        </a:cubicBezTo>
                        <a:cubicBezTo>
                          <a:pt x="93" y="137"/>
                          <a:pt x="93" y="134"/>
                          <a:pt x="90" y="134"/>
                        </a:cubicBezTo>
                        <a:cubicBezTo>
                          <a:pt x="91" y="132"/>
                          <a:pt x="93" y="127"/>
                          <a:pt x="90" y="127"/>
                        </a:cubicBezTo>
                        <a:cubicBezTo>
                          <a:pt x="90" y="125"/>
                          <a:pt x="92" y="119"/>
                          <a:pt x="94" y="119"/>
                        </a:cubicBezTo>
                        <a:cubicBezTo>
                          <a:pt x="94" y="118"/>
                          <a:pt x="94" y="118"/>
                          <a:pt x="94" y="118"/>
                        </a:cubicBezTo>
                        <a:cubicBezTo>
                          <a:pt x="94" y="118"/>
                          <a:pt x="94" y="118"/>
                          <a:pt x="94" y="118"/>
                        </a:cubicBezTo>
                        <a:cubicBezTo>
                          <a:pt x="93" y="117"/>
                          <a:pt x="93" y="116"/>
                          <a:pt x="93" y="114"/>
                        </a:cubicBezTo>
                        <a:cubicBezTo>
                          <a:pt x="94" y="114"/>
                          <a:pt x="98" y="115"/>
                          <a:pt x="97" y="112"/>
                        </a:cubicBezTo>
                        <a:cubicBezTo>
                          <a:pt x="97" y="113"/>
                          <a:pt x="96" y="112"/>
                          <a:pt x="96" y="112"/>
                        </a:cubicBezTo>
                        <a:cubicBezTo>
                          <a:pt x="96" y="110"/>
                          <a:pt x="100" y="104"/>
                          <a:pt x="103" y="105"/>
                        </a:cubicBezTo>
                        <a:cubicBezTo>
                          <a:pt x="105" y="106"/>
                          <a:pt x="105" y="108"/>
                          <a:pt x="107" y="107"/>
                        </a:cubicBezTo>
                        <a:cubicBezTo>
                          <a:pt x="108" y="107"/>
                          <a:pt x="109" y="104"/>
                          <a:pt x="109" y="103"/>
                        </a:cubicBezTo>
                        <a:cubicBezTo>
                          <a:pt x="111" y="102"/>
                          <a:pt x="115" y="104"/>
                          <a:pt x="117" y="101"/>
                        </a:cubicBezTo>
                        <a:cubicBezTo>
                          <a:pt x="120" y="101"/>
                          <a:pt x="125" y="102"/>
                          <a:pt x="127" y="102"/>
                        </a:cubicBezTo>
                        <a:cubicBezTo>
                          <a:pt x="130" y="103"/>
                          <a:pt x="131" y="103"/>
                          <a:pt x="134" y="103"/>
                        </a:cubicBezTo>
                        <a:cubicBezTo>
                          <a:pt x="137" y="104"/>
                          <a:pt x="144" y="105"/>
                          <a:pt x="144" y="109"/>
                        </a:cubicBezTo>
                        <a:cubicBezTo>
                          <a:pt x="145" y="109"/>
                          <a:pt x="152" y="109"/>
                          <a:pt x="151" y="108"/>
                        </a:cubicBezTo>
                        <a:cubicBezTo>
                          <a:pt x="151" y="107"/>
                          <a:pt x="150" y="105"/>
                          <a:pt x="149" y="104"/>
                        </a:cubicBezTo>
                        <a:cubicBezTo>
                          <a:pt x="148" y="102"/>
                          <a:pt x="147" y="101"/>
                          <a:pt x="146" y="10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69" name="Freeform 321">
                    <a:extLst>
                      <a:ext uri="{FF2B5EF4-FFF2-40B4-BE49-F238E27FC236}">
                        <a16:creationId xmlns:a16="http://schemas.microsoft.com/office/drawing/2014/main" xmlns="" id="{A58CB70E-1D4E-4EBD-B1D0-63AE220801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22801" y="3462338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70" name="Freeform 322">
                    <a:extLst>
                      <a:ext uri="{FF2B5EF4-FFF2-40B4-BE49-F238E27FC236}">
                        <a16:creationId xmlns:a16="http://schemas.microsoft.com/office/drawing/2014/main" xmlns="" id="{4818F9AB-6FFA-4E3A-8D4F-F77F3C13B78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19626" y="3451226"/>
                    <a:ext cx="0" cy="3175"/>
                  </a:xfrm>
                  <a:custGeom>
                    <a:avLst/>
                    <a:gdLst>
                      <a:gd name="T0" fmla="*/ 2 h 2"/>
                      <a:gd name="T1" fmla="*/ 0 h 2"/>
                      <a:gd name="T2" fmla="*/ 2 h 2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2">
                        <a:moveTo>
                          <a:pt x="0" y="2"/>
                        </a:moveTo>
                        <a:lnTo>
                          <a:pt x="0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71" name="Freeform 323">
                    <a:extLst>
                      <a:ext uri="{FF2B5EF4-FFF2-40B4-BE49-F238E27FC236}">
                        <a16:creationId xmlns:a16="http://schemas.microsoft.com/office/drawing/2014/main" xmlns="" id="{B8AB43CD-2358-4ECC-8881-659D079E8C9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22801" y="3462338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72" name="Freeform 324">
                    <a:extLst>
                      <a:ext uri="{FF2B5EF4-FFF2-40B4-BE49-F238E27FC236}">
                        <a16:creationId xmlns:a16="http://schemas.microsoft.com/office/drawing/2014/main" xmlns="" id="{1FAE34B1-1C4B-4CDB-95E9-C09C82E422A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22801" y="3462338"/>
                    <a:ext cx="4763" cy="0"/>
                  </a:xfrm>
                  <a:custGeom>
                    <a:avLst/>
                    <a:gdLst>
                      <a:gd name="T0" fmla="*/ 3 w 3"/>
                      <a:gd name="T1" fmla="*/ 0 w 3"/>
                      <a:gd name="T2" fmla="*/ 3 w 3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3">
                        <a:moveTo>
                          <a:pt x="3" y="0"/>
                        </a:moveTo>
                        <a:lnTo>
                          <a:pt x="0" y="0"/>
                        </a:lnTo>
                        <a:lnTo>
                          <a:pt x="3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73" name="Rectangle 325">
                    <a:extLst>
                      <a:ext uri="{FF2B5EF4-FFF2-40B4-BE49-F238E27FC236}">
                        <a16:creationId xmlns:a16="http://schemas.microsoft.com/office/drawing/2014/main" xmlns="" id="{108CE451-592E-4BCD-B292-0950B196935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19576" y="2633663"/>
                    <a:ext cx="1588" cy="1588"/>
                  </a:xfrm>
                  <a:prstGeom prst="rect">
                    <a:avLst/>
                  </a:pr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74" name="Freeform 326">
                    <a:extLst>
                      <a:ext uri="{FF2B5EF4-FFF2-40B4-BE49-F238E27FC236}">
                        <a16:creationId xmlns:a16="http://schemas.microsoft.com/office/drawing/2014/main" xmlns="" id="{0D863A7A-20E9-4F40-9256-D5DFA82E572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40276" y="3365501"/>
                    <a:ext cx="3175" cy="4763"/>
                  </a:xfrm>
                  <a:custGeom>
                    <a:avLst/>
                    <a:gdLst>
                      <a:gd name="T0" fmla="*/ 1 w 1"/>
                      <a:gd name="T1" fmla="*/ 0 h 1"/>
                      <a:gd name="T2" fmla="*/ 0 w 1"/>
                      <a:gd name="T3" fmla="*/ 1 h 1"/>
                      <a:gd name="T4" fmla="*/ 1 w 1"/>
                      <a:gd name="T5" fmla="*/ 0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" h="1">
                        <a:moveTo>
                          <a:pt x="1" y="0"/>
                        </a:moveTo>
                        <a:cubicBezTo>
                          <a:pt x="1" y="0"/>
                          <a:pt x="1" y="1"/>
                          <a:pt x="0" y="1"/>
                        </a:cubicBezTo>
                        <a:cubicBezTo>
                          <a:pt x="1" y="1"/>
                          <a:pt x="1" y="0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75" name="Freeform 327">
                    <a:extLst>
                      <a:ext uri="{FF2B5EF4-FFF2-40B4-BE49-F238E27FC236}">
                        <a16:creationId xmlns:a16="http://schemas.microsoft.com/office/drawing/2014/main" xmlns="" id="{D0D54066-783A-4A00-A2F5-E1897A6E0FC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43451" y="3355976"/>
                    <a:ext cx="3175" cy="9525"/>
                  </a:xfrm>
                  <a:custGeom>
                    <a:avLst/>
                    <a:gdLst>
                      <a:gd name="T0" fmla="*/ 1 w 1"/>
                      <a:gd name="T1" fmla="*/ 0 h 3"/>
                      <a:gd name="T2" fmla="*/ 0 w 1"/>
                      <a:gd name="T3" fmla="*/ 3 h 3"/>
                      <a:gd name="T4" fmla="*/ 1 w 1"/>
                      <a:gd name="T5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" h="3">
                        <a:moveTo>
                          <a:pt x="1" y="0"/>
                        </a:moveTo>
                        <a:cubicBezTo>
                          <a:pt x="1" y="1"/>
                          <a:pt x="1" y="2"/>
                          <a:pt x="0" y="3"/>
                        </a:cubicBezTo>
                        <a:cubicBezTo>
                          <a:pt x="1" y="2"/>
                          <a:pt x="1" y="1"/>
                          <a:pt x="1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76" name="Freeform 328">
                    <a:extLst>
                      <a:ext uri="{FF2B5EF4-FFF2-40B4-BE49-F238E27FC236}">
                        <a16:creationId xmlns:a16="http://schemas.microsoft.com/office/drawing/2014/main" xmlns="" id="{72BD2EDA-A5CE-4BDC-9EE2-E5327CE9252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37101" y="3370263"/>
                    <a:ext cx="0" cy="3175"/>
                  </a:xfrm>
                  <a:custGeom>
                    <a:avLst/>
                    <a:gdLst>
                      <a:gd name="T0" fmla="*/ 2 h 2"/>
                      <a:gd name="T1" fmla="*/ 0 h 2"/>
                      <a:gd name="T2" fmla="*/ 2 h 2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2">
                        <a:moveTo>
                          <a:pt x="0" y="2"/>
                        </a:moveTo>
                        <a:lnTo>
                          <a:pt x="0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77" name="Freeform 329">
                    <a:extLst>
                      <a:ext uri="{FF2B5EF4-FFF2-40B4-BE49-F238E27FC236}">
                        <a16:creationId xmlns:a16="http://schemas.microsoft.com/office/drawing/2014/main" xmlns="" id="{4B18BEB7-ECC9-4F0F-9C0A-13606122912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46626" y="3348038"/>
                    <a:ext cx="0" cy="7938"/>
                  </a:xfrm>
                  <a:custGeom>
                    <a:avLst/>
                    <a:gdLst>
                      <a:gd name="T0" fmla="*/ 2 h 2"/>
                      <a:gd name="T1" fmla="*/ 0 h 2"/>
                      <a:gd name="T2" fmla="*/ 2 h 2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2">
                        <a:moveTo>
                          <a:pt x="0" y="2"/>
                        </a:moveTo>
                        <a:cubicBezTo>
                          <a:pt x="0" y="2"/>
                          <a:pt x="0" y="1"/>
                          <a:pt x="0" y="0"/>
                        </a:cubicBezTo>
                        <a:cubicBezTo>
                          <a:pt x="0" y="1"/>
                          <a:pt x="0" y="2"/>
                          <a:pt x="0" y="2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78" name="Freeform 330">
                    <a:extLst>
                      <a:ext uri="{FF2B5EF4-FFF2-40B4-BE49-F238E27FC236}">
                        <a16:creationId xmlns:a16="http://schemas.microsoft.com/office/drawing/2014/main" xmlns="" id="{0525FA3E-29AA-435E-9C53-F0A0F83B876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40276" y="3338513"/>
                    <a:ext cx="3175" cy="3175"/>
                  </a:xfrm>
                  <a:custGeom>
                    <a:avLst/>
                    <a:gdLst>
                      <a:gd name="T0" fmla="*/ 0 w 2"/>
                      <a:gd name="T1" fmla="*/ 0 h 2"/>
                      <a:gd name="T2" fmla="*/ 2 w 2"/>
                      <a:gd name="T3" fmla="*/ 2 h 2"/>
                      <a:gd name="T4" fmla="*/ 0 w 2"/>
                      <a:gd name="T5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" h="2">
                        <a:moveTo>
                          <a:pt x="0" y="0"/>
                        </a:moveTo>
                        <a:lnTo>
                          <a:pt x="2" y="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79" name="Freeform 331">
                    <a:extLst>
                      <a:ext uri="{FF2B5EF4-FFF2-40B4-BE49-F238E27FC236}">
                        <a16:creationId xmlns:a16="http://schemas.microsoft.com/office/drawing/2014/main" xmlns="" id="{8010DD14-22CD-4690-8880-F0CB18E803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11701" y="3241676"/>
                    <a:ext cx="742950" cy="558800"/>
                  </a:xfrm>
                  <a:custGeom>
                    <a:avLst/>
                    <a:gdLst>
                      <a:gd name="T0" fmla="*/ 208 w 210"/>
                      <a:gd name="T1" fmla="*/ 22 h 158"/>
                      <a:gd name="T2" fmla="*/ 203 w 210"/>
                      <a:gd name="T3" fmla="*/ 6 h 158"/>
                      <a:gd name="T4" fmla="*/ 189 w 210"/>
                      <a:gd name="T5" fmla="*/ 4 h 158"/>
                      <a:gd name="T6" fmla="*/ 175 w 210"/>
                      <a:gd name="T7" fmla="*/ 14 h 158"/>
                      <a:gd name="T8" fmla="*/ 168 w 210"/>
                      <a:gd name="T9" fmla="*/ 35 h 158"/>
                      <a:gd name="T10" fmla="*/ 157 w 210"/>
                      <a:gd name="T11" fmla="*/ 37 h 158"/>
                      <a:gd name="T12" fmla="*/ 147 w 210"/>
                      <a:gd name="T13" fmla="*/ 40 h 158"/>
                      <a:gd name="T14" fmla="*/ 136 w 210"/>
                      <a:gd name="T15" fmla="*/ 47 h 158"/>
                      <a:gd name="T16" fmla="*/ 128 w 210"/>
                      <a:gd name="T17" fmla="*/ 33 h 158"/>
                      <a:gd name="T18" fmla="*/ 115 w 210"/>
                      <a:gd name="T19" fmla="*/ 28 h 158"/>
                      <a:gd name="T20" fmla="*/ 107 w 210"/>
                      <a:gd name="T21" fmla="*/ 35 h 158"/>
                      <a:gd name="T22" fmla="*/ 102 w 210"/>
                      <a:gd name="T23" fmla="*/ 40 h 158"/>
                      <a:gd name="T24" fmla="*/ 83 w 210"/>
                      <a:gd name="T25" fmla="*/ 47 h 158"/>
                      <a:gd name="T26" fmla="*/ 70 w 210"/>
                      <a:gd name="T27" fmla="*/ 43 h 158"/>
                      <a:gd name="T28" fmla="*/ 60 w 210"/>
                      <a:gd name="T29" fmla="*/ 52 h 158"/>
                      <a:gd name="T30" fmla="*/ 38 w 210"/>
                      <a:gd name="T31" fmla="*/ 43 h 158"/>
                      <a:gd name="T32" fmla="*/ 8 w 210"/>
                      <a:gd name="T33" fmla="*/ 39 h 158"/>
                      <a:gd name="T34" fmla="*/ 4 w 210"/>
                      <a:gd name="T35" fmla="*/ 41 h 158"/>
                      <a:gd name="T36" fmla="*/ 2 w 210"/>
                      <a:gd name="T37" fmla="*/ 53 h 158"/>
                      <a:gd name="T38" fmla="*/ 15 w 210"/>
                      <a:gd name="T39" fmla="*/ 68 h 158"/>
                      <a:gd name="T40" fmla="*/ 23 w 210"/>
                      <a:gd name="T41" fmla="*/ 81 h 158"/>
                      <a:gd name="T42" fmla="*/ 33 w 210"/>
                      <a:gd name="T43" fmla="*/ 105 h 158"/>
                      <a:gd name="T44" fmla="*/ 44 w 210"/>
                      <a:gd name="T45" fmla="*/ 119 h 158"/>
                      <a:gd name="T46" fmla="*/ 34 w 210"/>
                      <a:gd name="T47" fmla="*/ 131 h 158"/>
                      <a:gd name="T48" fmla="*/ 54 w 210"/>
                      <a:gd name="T49" fmla="*/ 139 h 158"/>
                      <a:gd name="T50" fmla="*/ 77 w 210"/>
                      <a:gd name="T51" fmla="*/ 135 h 158"/>
                      <a:gd name="T52" fmla="*/ 82 w 210"/>
                      <a:gd name="T53" fmla="*/ 148 h 158"/>
                      <a:gd name="T54" fmla="*/ 97 w 210"/>
                      <a:gd name="T55" fmla="*/ 150 h 158"/>
                      <a:gd name="T56" fmla="*/ 117 w 210"/>
                      <a:gd name="T57" fmla="*/ 157 h 158"/>
                      <a:gd name="T58" fmla="*/ 126 w 210"/>
                      <a:gd name="T59" fmla="*/ 145 h 158"/>
                      <a:gd name="T60" fmla="*/ 142 w 210"/>
                      <a:gd name="T61" fmla="*/ 136 h 158"/>
                      <a:gd name="T62" fmla="*/ 158 w 210"/>
                      <a:gd name="T63" fmla="*/ 147 h 158"/>
                      <a:gd name="T64" fmla="*/ 168 w 210"/>
                      <a:gd name="T65" fmla="*/ 144 h 158"/>
                      <a:gd name="T66" fmla="*/ 163 w 210"/>
                      <a:gd name="T67" fmla="*/ 134 h 158"/>
                      <a:gd name="T68" fmla="*/ 156 w 210"/>
                      <a:gd name="T69" fmla="*/ 126 h 158"/>
                      <a:gd name="T70" fmla="*/ 151 w 210"/>
                      <a:gd name="T71" fmla="*/ 113 h 158"/>
                      <a:gd name="T72" fmla="*/ 142 w 210"/>
                      <a:gd name="T73" fmla="*/ 110 h 158"/>
                      <a:gd name="T74" fmla="*/ 124 w 210"/>
                      <a:gd name="T75" fmla="*/ 103 h 158"/>
                      <a:gd name="T76" fmla="*/ 120 w 210"/>
                      <a:gd name="T77" fmla="*/ 95 h 158"/>
                      <a:gd name="T78" fmla="*/ 127 w 210"/>
                      <a:gd name="T79" fmla="*/ 83 h 158"/>
                      <a:gd name="T80" fmla="*/ 142 w 210"/>
                      <a:gd name="T81" fmla="*/ 87 h 158"/>
                      <a:gd name="T82" fmla="*/ 160 w 210"/>
                      <a:gd name="T83" fmla="*/ 76 h 158"/>
                      <a:gd name="T84" fmla="*/ 178 w 210"/>
                      <a:gd name="T85" fmla="*/ 70 h 158"/>
                      <a:gd name="T86" fmla="*/ 182 w 210"/>
                      <a:gd name="T87" fmla="*/ 65 h 158"/>
                      <a:gd name="T88" fmla="*/ 187 w 210"/>
                      <a:gd name="T89" fmla="*/ 59 h 158"/>
                      <a:gd name="T90" fmla="*/ 192 w 210"/>
                      <a:gd name="T91" fmla="*/ 59 h 158"/>
                      <a:gd name="T92" fmla="*/ 198 w 210"/>
                      <a:gd name="T93" fmla="*/ 51 h 158"/>
                      <a:gd name="T94" fmla="*/ 204 w 210"/>
                      <a:gd name="T95" fmla="*/ 33 h 1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210" h="158">
                        <a:moveTo>
                          <a:pt x="209" y="27"/>
                        </a:moveTo>
                        <a:cubicBezTo>
                          <a:pt x="208" y="25"/>
                          <a:pt x="205" y="26"/>
                          <a:pt x="206" y="23"/>
                        </a:cubicBezTo>
                        <a:cubicBezTo>
                          <a:pt x="207" y="23"/>
                          <a:pt x="207" y="22"/>
                          <a:pt x="208" y="22"/>
                        </a:cubicBezTo>
                        <a:cubicBezTo>
                          <a:pt x="208" y="18"/>
                          <a:pt x="210" y="14"/>
                          <a:pt x="207" y="10"/>
                        </a:cubicBezTo>
                        <a:cubicBezTo>
                          <a:pt x="206" y="9"/>
                          <a:pt x="204" y="7"/>
                          <a:pt x="204" y="6"/>
                        </a:cubicBezTo>
                        <a:cubicBezTo>
                          <a:pt x="203" y="6"/>
                          <a:pt x="203" y="6"/>
                          <a:pt x="203" y="6"/>
                        </a:cubicBezTo>
                        <a:cubicBezTo>
                          <a:pt x="201" y="6"/>
                          <a:pt x="200" y="4"/>
                          <a:pt x="198" y="3"/>
                        </a:cubicBezTo>
                        <a:cubicBezTo>
                          <a:pt x="196" y="1"/>
                          <a:pt x="192" y="0"/>
                          <a:pt x="189" y="0"/>
                        </a:cubicBezTo>
                        <a:cubicBezTo>
                          <a:pt x="189" y="4"/>
                          <a:pt x="189" y="4"/>
                          <a:pt x="189" y="4"/>
                        </a:cubicBezTo>
                        <a:cubicBezTo>
                          <a:pt x="187" y="4"/>
                          <a:pt x="188" y="5"/>
                          <a:pt x="188" y="7"/>
                        </a:cubicBezTo>
                        <a:cubicBezTo>
                          <a:pt x="185" y="7"/>
                          <a:pt x="183" y="6"/>
                          <a:pt x="180" y="7"/>
                        </a:cubicBezTo>
                        <a:cubicBezTo>
                          <a:pt x="179" y="9"/>
                          <a:pt x="179" y="14"/>
                          <a:pt x="175" y="14"/>
                        </a:cubicBezTo>
                        <a:cubicBezTo>
                          <a:pt x="170" y="15"/>
                          <a:pt x="174" y="21"/>
                          <a:pt x="172" y="24"/>
                        </a:cubicBezTo>
                        <a:cubicBezTo>
                          <a:pt x="171" y="26"/>
                          <a:pt x="169" y="25"/>
                          <a:pt x="169" y="28"/>
                        </a:cubicBezTo>
                        <a:cubicBezTo>
                          <a:pt x="169" y="30"/>
                          <a:pt x="169" y="33"/>
                          <a:pt x="168" y="35"/>
                        </a:cubicBezTo>
                        <a:cubicBezTo>
                          <a:pt x="167" y="36"/>
                          <a:pt x="165" y="36"/>
                          <a:pt x="164" y="36"/>
                        </a:cubicBezTo>
                        <a:cubicBezTo>
                          <a:pt x="162" y="37"/>
                          <a:pt x="164" y="38"/>
                          <a:pt x="163" y="40"/>
                        </a:cubicBezTo>
                        <a:cubicBezTo>
                          <a:pt x="161" y="41"/>
                          <a:pt x="159" y="37"/>
                          <a:pt x="157" y="37"/>
                        </a:cubicBezTo>
                        <a:cubicBezTo>
                          <a:pt x="157" y="39"/>
                          <a:pt x="153" y="41"/>
                          <a:pt x="151" y="41"/>
                        </a:cubicBezTo>
                        <a:cubicBezTo>
                          <a:pt x="151" y="39"/>
                          <a:pt x="150" y="36"/>
                          <a:pt x="148" y="38"/>
                        </a:cubicBezTo>
                        <a:cubicBezTo>
                          <a:pt x="147" y="38"/>
                          <a:pt x="148" y="39"/>
                          <a:pt x="147" y="40"/>
                        </a:cubicBezTo>
                        <a:cubicBezTo>
                          <a:pt x="146" y="41"/>
                          <a:pt x="145" y="41"/>
                          <a:pt x="145" y="42"/>
                        </a:cubicBezTo>
                        <a:cubicBezTo>
                          <a:pt x="144" y="44"/>
                          <a:pt x="145" y="50"/>
                          <a:pt x="140" y="49"/>
                        </a:cubicBezTo>
                        <a:cubicBezTo>
                          <a:pt x="140" y="46"/>
                          <a:pt x="137" y="48"/>
                          <a:pt x="136" y="47"/>
                        </a:cubicBezTo>
                        <a:cubicBezTo>
                          <a:pt x="135" y="46"/>
                          <a:pt x="136" y="43"/>
                          <a:pt x="136" y="42"/>
                        </a:cubicBezTo>
                        <a:cubicBezTo>
                          <a:pt x="136" y="36"/>
                          <a:pt x="132" y="41"/>
                          <a:pt x="129" y="40"/>
                        </a:cubicBezTo>
                        <a:cubicBezTo>
                          <a:pt x="128" y="38"/>
                          <a:pt x="130" y="35"/>
                          <a:pt x="128" y="33"/>
                        </a:cubicBezTo>
                        <a:cubicBezTo>
                          <a:pt x="127" y="32"/>
                          <a:pt x="125" y="32"/>
                          <a:pt x="125" y="30"/>
                        </a:cubicBezTo>
                        <a:cubicBezTo>
                          <a:pt x="125" y="29"/>
                          <a:pt x="125" y="30"/>
                          <a:pt x="124" y="29"/>
                        </a:cubicBezTo>
                        <a:cubicBezTo>
                          <a:pt x="123" y="29"/>
                          <a:pt x="115" y="32"/>
                          <a:pt x="115" y="28"/>
                        </a:cubicBezTo>
                        <a:cubicBezTo>
                          <a:pt x="114" y="28"/>
                          <a:pt x="111" y="27"/>
                          <a:pt x="110" y="28"/>
                        </a:cubicBezTo>
                        <a:cubicBezTo>
                          <a:pt x="108" y="29"/>
                          <a:pt x="110" y="31"/>
                          <a:pt x="109" y="32"/>
                        </a:cubicBezTo>
                        <a:cubicBezTo>
                          <a:pt x="109" y="33"/>
                          <a:pt x="107" y="33"/>
                          <a:pt x="107" y="35"/>
                        </a:cubicBezTo>
                        <a:cubicBezTo>
                          <a:pt x="107" y="36"/>
                          <a:pt x="107" y="36"/>
                          <a:pt x="107" y="37"/>
                        </a:cubicBezTo>
                        <a:cubicBezTo>
                          <a:pt x="107" y="38"/>
                          <a:pt x="106" y="38"/>
                          <a:pt x="105" y="39"/>
                        </a:cubicBezTo>
                        <a:cubicBezTo>
                          <a:pt x="103" y="39"/>
                          <a:pt x="103" y="39"/>
                          <a:pt x="102" y="40"/>
                        </a:cubicBezTo>
                        <a:cubicBezTo>
                          <a:pt x="102" y="41"/>
                          <a:pt x="101" y="42"/>
                          <a:pt x="100" y="42"/>
                        </a:cubicBezTo>
                        <a:cubicBezTo>
                          <a:pt x="97" y="43"/>
                          <a:pt x="93" y="42"/>
                          <a:pt x="89" y="44"/>
                        </a:cubicBezTo>
                        <a:cubicBezTo>
                          <a:pt x="90" y="48"/>
                          <a:pt x="85" y="47"/>
                          <a:pt x="83" y="47"/>
                        </a:cubicBezTo>
                        <a:cubicBezTo>
                          <a:pt x="81" y="48"/>
                          <a:pt x="81" y="49"/>
                          <a:pt x="80" y="50"/>
                        </a:cubicBezTo>
                        <a:cubicBezTo>
                          <a:pt x="79" y="50"/>
                          <a:pt x="77" y="49"/>
                          <a:pt x="76" y="49"/>
                        </a:cubicBezTo>
                        <a:cubicBezTo>
                          <a:pt x="73" y="47"/>
                          <a:pt x="73" y="42"/>
                          <a:pt x="70" y="43"/>
                        </a:cubicBezTo>
                        <a:cubicBezTo>
                          <a:pt x="67" y="43"/>
                          <a:pt x="67" y="45"/>
                          <a:pt x="66" y="47"/>
                        </a:cubicBezTo>
                        <a:cubicBezTo>
                          <a:pt x="65" y="48"/>
                          <a:pt x="63" y="48"/>
                          <a:pt x="61" y="48"/>
                        </a:cubicBezTo>
                        <a:cubicBezTo>
                          <a:pt x="61" y="49"/>
                          <a:pt x="61" y="51"/>
                          <a:pt x="60" y="52"/>
                        </a:cubicBezTo>
                        <a:cubicBezTo>
                          <a:pt x="57" y="52"/>
                          <a:pt x="50" y="52"/>
                          <a:pt x="50" y="48"/>
                        </a:cubicBezTo>
                        <a:cubicBezTo>
                          <a:pt x="49" y="45"/>
                          <a:pt x="50" y="40"/>
                          <a:pt x="46" y="41"/>
                        </a:cubicBezTo>
                        <a:cubicBezTo>
                          <a:pt x="44" y="42"/>
                          <a:pt x="40" y="46"/>
                          <a:pt x="38" y="43"/>
                        </a:cubicBezTo>
                        <a:cubicBezTo>
                          <a:pt x="37" y="40"/>
                          <a:pt x="36" y="37"/>
                          <a:pt x="32" y="37"/>
                        </a:cubicBezTo>
                        <a:cubicBezTo>
                          <a:pt x="32" y="42"/>
                          <a:pt x="29" y="41"/>
                          <a:pt x="24" y="41"/>
                        </a:cubicBezTo>
                        <a:cubicBezTo>
                          <a:pt x="19" y="41"/>
                          <a:pt x="13" y="42"/>
                          <a:pt x="8" y="39"/>
                        </a:cubicBezTo>
                        <a:cubicBezTo>
                          <a:pt x="7" y="38"/>
                          <a:pt x="6" y="38"/>
                          <a:pt x="5" y="37"/>
                        </a:cubicBezTo>
                        <a:cubicBezTo>
                          <a:pt x="4" y="37"/>
                          <a:pt x="4" y="37"/>
                          <a:pt x="4" y="37"/>
                        </a:cubicBezTo>
                        <a:cubicBezTo>
                          <a:pt x="4" y="38"/>
                          <a:pt x="4" y="40"/>
                          <a:pt x="4" y="41"/>
                        </a:cubicBezTo>
                        <a:cubicBezTo>
                          <a:pt x="4" y="42"/>
                          <a:pt x="6" y="42"/>
                          <a:pt x="5" y="44"/>
                        </a:cubicBezTo>
                        <a:cubicBezTo>
                          <a:pt x="3" y="45"/>
                          <a:pt x="2" y="47"/>
                          <a:pt x="4" y="49"/>
                        </a:cubicBezTo>
                        <a:cubicBezTo>
                          <a:pt x="6" y="51"/>
                          <a:pt x="3" y="52"/>
                          <a:pt x="2" y="53"/>
                        </a:cubicBezTo>
                        <a:cubicBezTo>
                          <a:pt x="0" y="54"/>
                          <a:pt x="1" y="55"/>
                          <a:pt x="2" y="56"/>
                        </a:cubicBezTo>
                        <a:cubicBezTo>
                          <a:pt x="5" y="56"/>
                          <a:pt x="9" y="57"/>
                          <a:pt x="9" y="60"/>
                        </a:cubicBezTo>
                        <a:cubicBezTo>
                          <a:pt x="9" y="65"/>
                          <a:pt x="11" y="66"/>
                          <a:pt x="15" y="68"/>
                        </a:cubicBezTo>
                        <a:cubicBezTo>
                          <a:pt x="17" y="69"/>
                          <a:pt x="18" y="71"/>
                          <a:pt x="18" y="73"/>
                        </a:cubicBezTo>
                        <a:cubicBezTo>
                          <a:pt x="19" y="74"/>
                          <a:pt x="19" y="77"/>
                          <a:pt x="22" y="76"/>
                        </a:cubicBezTo>
                        <a:cubicBezTo>
                          <a:pt x="22" y="78"/>
                          <a:pt x="22" y="80"/>
                          <a:pt x="23" y="81"/>
                        </a:cubicBezTo>
                        <a:cubicBezTo>
                          <a:pt x="25" y="82"/>
                          <a:pt x="28" y="80"/>
                          <a:pt x="29" y="81"/>
                        </a:cubicBezTo>
                        <a:cubicBezTo>
                          <a:pt x="34" y="85"/>
                          <a:pt x="29" y="91"/>
                          <a:pt x="30" y="96"/>
                        </a:cubicBezTo>
                        <a:cubicBezTo>
                          <a:pt x="34" y="96"/>
                          <a:pt x="33" y="103"/>
                          <a:pt x="33" y="105"/>
                        </a:cubicBezTo>
                        <a:cubicBezTo>
                          <a:pt x="36" y="105"/>
                          <a:pt x="36" y="108"/>
                          <a:pt x="37" y="109"/>
                        </a:cubicBezTo>
                        <a:cubicBezTo>
                          <a:pt x="39" y="112"/>
                          <a:pt x="43" y="111"/>
                          <a:pt x="46" y="112"/>
                        </a:cubicBezTo>
                        <a:cubicBezTo>
                          <a:pt x="45" y="114"/>
                          <a:pt x="45" y="117"/>
                          <a:pt x="44" y="119"/>
                        </a:cubicBezTo>
                        <a:cubicBezTo>
                          <a:pt x="44" y="123"/>
                          <a:pt x="41" y="122"/>
                          <a:pt x="39" y="124"/>
                        </a:cubicBezTo>
                        <a:cubicBezTo>
                          <a:pt x="36" y="126"/>
                          <a:pt x="35" y="129"/>
                          <a:pt x="34" y="131"/>
                        </a:cubicBezTo>
                        <a:cubicBezTo>
                          <a:pt x="34" y="131"/>
                          <a:pt x="34" y="131"/>
                          <a:pt x="34" y="131"/>
                        </a:cubicBezTo>
                        <a:cubicBezTo>
                          <a:pt x="35" y="131"/>
                          <a:pt x="36" y="132"/>
                          <a:pt x="36" y="132"/>
                        </a:cubicBezTo>
                        <a:cubicBezTo>
                          <a:pt x="38" y="134"/>
                          <a:pt x="38" y="136"/>
                          <a:pt x="39" y="137"/>
                        </a:cubicBezTo>
                        <a:cubicBezTo>
                          <a:pt x="42" y="140"/>
                          <a:pt x="50" y="141"/>
                          <a:pt x="54" y="139"/>
                        </a:cubicBezTo>
                        <a:cubicBezTo>
                          <a:pt x="56" y="139"/>
                          <a:pt x="57" y="137"/>
                          <a:pt x="59" y="137"/>
                        </a:cubicBezTo>
                        <a:cubicBezTo>
                          <a:pt x="62" y="136"/>
                          <a:pt x="66" y="138"/>
                          <a:pt x="69" y="137"/>
                        </a:cubicBezTo>
                        <a:cubicBezTo>
                          <a:pt x="72" y="137"/>
                          <a:pt x="74" y="136"/>
                          <a:pt x="77" y="135"/>
                        </a:cubicBezTo>
                        <a:cubicBezTo>
                          <a:pt x="79" y="135"/>
                          <a:pt x="81" y="132"/>
                          <a:pt x="84" y="133"/>
                        </a:cubicBezTo>
                        <a:cubicBezTo>
                          <a:pt x="84" y="138"/>
                          <a:pt x="84" y="143"/>
                          <a:pt x="83" y="148"/>
                        </a:cubicBezTo>
                        <a:cubicBezTo>
                          <a:pt x="82" y="148"/>
                          <a:pt x="82" y="148"/>
                          <a:pt x="82" y="148"/>
                        </a:cubicBezTo>
                        <a:cubicBezTo>
                          <a:pt x="82" y="150"/>
                          <a:pt x="80" y="150"/>
                          <a:pt x="79" y="152"/>
                        </a:cubicBezTo>
                        <a:cubicBezTo>
                          <a:pt x="83" y="152"/>
                          <a:pt x="86" y="156"/>
                          <a:pt x="90" y="155"/>
                        </a:cubicBezTo>
                        <a:cubicBezTo>
                          <a:pt x="93" y="155"/>
                          <a:pt x="94" y="151"/>
                          <a:pt x="97" y="150"/>
                        </a:cubicBezTo>
                        <a:cubicBezTo>
                          <a:pt x="100" y="148"/>
                          <a:pt x="104" y="150"/>
                          <a:pt x="107" y="151"/>
                        </a:cubicBezTo>
                        <a:cubicBezTo>
                          <a:pt x="110" y="152"/>
                          <a:pt x="114" y="155"/>
                          <a:pt x="117" y="152"/>
                        </a:cubicBezTo>
                        <a:cubicBezTo>
                          <a:pt x="120" y="153"/>
                          <a:pt x="118" y="155"/>
                          <a:pt x="117" y="157"/>
                        </a:cubicBezTo>
                        <a:cubicBezTo>
                          <a:pt x="119" y="157"/>
                          <a:pt x="120" y="158"/>
                          <a:pt x="123" y="158"/>
                        </a:cubicBezTo>
                        <a:cubicBezTo>
                          <a:pt x="124" y="156"/>
                          <a:pt x="123" y="152"/>
                          <a:pt x="127" y="152"/>
                        </a:cubicBezTo>
                        <a:cubicBezTo>
                          <a:pt x="128" y="149"/>
                          <a:pt x="125" y="147"/>
                          <a:pt x="126" y="145"/>
                        </a:cubicBezTo>
                        <a:cubicBezTo>
                          <a:pt x="130" y="143"/>
                          <a:pt x="125" y="135"/>
                          <a:pt x="124" y="133"/>
                        </a:cubicBezTo>
                        <a:cubicBezTo>
                          <a:pt x="126" y="133"/>
                          <a:pt x="132" y="131"/>
                          <a:pt x="131" y="135"/>
                        </a:cubicBezTo>
                        <a:cubicBezTo>
                          <a:pt x="135" y="135"/>
                          <a:pt x="140" y="134"/>
                          <a:pt x="142" y="136"/>
                        </a:cubicBezTo>
                        <a:cubicBezTo>
                          <a:pt x="143" y="138"/>
                          <a:pt x="147" y="142"/>
                          <a:pt x="147" y="144"/>
                        </a:cubicBezTo>
                        <a:cubicBezTo>
                          <a:pt x="147" y="144"/>
                          <a:pt x="148" y="144"/>
                          <a:pt x="149" y="143"/>
                        </a:cubicBezTo>
                        <a:cubicBezTo>
                          <a:pt x="150" y="137"/>
                          <a:pt x="159" y="142"/>
                          <a:pt x="158" y="147"/>
                        </a:cubicBezTo>
                        <a:cubicBezTo>
                          <a:pt x="159" y="147"/>
                          <a:pt x="160" y="148"/>
                          <a:pt x="160" y="148"/>
                        </a:cubicBezTo>
                        <a:cubicBezTo>
                          <a:pt x="161" y="147"/>
                          <a:pt x="161" y="147"/>
                          <a:pt x="162" y="147"/>
                        </a:cubicBezTo>
                        <a:cubicBezTo>
                          <a:pt x="165" y="147"/>
                          <a:pt x="166" y="144"/>
                          <a:pt x="168" y="144"/>
                        </a:cubicBezTo>
                        <a:cubicBezTo>
                          <a:pt x="166" y="142"/>
                          <a:pt x="165" y="144"/>
                          <a:pt x="165" y="141"/>
                        </a:cubicBezTo>
                        <a:cubicBezTo>
                          <a:pt x="165" y="138"/>
                          <a:pt x="163" y="138"/>
                          <a:pt x="161" y="137"/>
                        </a:cubicBezTo>
                        <a:cubicBezTo>
                          <a:pt x="162" y="135"/>
                          <a:pt x="164" y="136"/>
                          <a:pt x="163" y="134"/>
                        </a:cubicBezTo>
                        <a:cubicBezTo>
                          <a:pt x="162" y="132"/>
                          <a:pt x="158" y="131"/>
                          <a:pt x="159" y="129"/>
                        </a:cubicBezTo>
                        <a:cubicBezTo>
                          <a:pt x="158" y="129"/>
                          <a:pt x="157" y="129"/>
                          <a:pt x="155" y="129"/>
                        </a:cubicBezTo>
                        <a:cubicBezTo>
                          <a:pt x="156" y="128"/>
                          <a:pt x="156" y="127"/>
                          <a:pt x="156" y="126"/>
                        </a:cubicBezTo>
                        <a:cubicBezTo>
                          <a:pt x="154" y="126"/>
                          <a:pt x="152" y="125"/>
                          <a:pt x="151" y="123"/>
                        </a:cubicBezTo>
                        <a:cubicBezTo>
                          <a:pt x="150" y="123"/>
                          <a:pt x="148" y="121"/>
                          <a:pt x="148" y="120"/>
                        </a:cubicBezTo>
                        <a:cubicBezTo>
                          <a:pt x="145" y="117"/>
                          <a:pt x="148" y="114"/>
                          <a:pt x="151" y="113"/>
                        </a:cubicBezTo>
                        <a:cubicBezTo>
                          <a:pt x="152" y="110"/>
                          <a:pt x="146" y="111"/>
                          <a:pt x="144" y="111"/>
                        </a:cubicBezTo>
                        <a:cubicBezTo>
                          <a:pt x="144" y="112"/>
                          <a:pt x="144" y="112"/>
                          <a:pt x="144" y="112"/>
                        </a:cubicBezTo>
                        <a:cubicBezTo>
                          <a:pt x="143" y="112"/>
                          <a:pt x="142" y="111"/>
                          <a:pt x="142" y="110"/>
                        </a:cubicBezTo>
                        <a:cubicBezTo>
                          <a:pt x="139" y="110"/>
                          <a:pt x="137" y="112"/>
                          <a:pt x="135" y="109"/>
                        </a:cubicBezTo>
                        <a:cubicBezTo>
                          <a:pt x="134" y="107"/>
                          <a:pt x="133" y="105"/>
                          <a:pt x="130" y="106"/>
                        </a:cubicBezTo>
                        <a:cubicBezTo>
                          <a:pt x="129" y="103"/>
                          <a:pt x="127" y="102"/>
                          <a:pt x="124" y="103"/>
                        </a:cubicBezTo>
                        <a:cubicBezTo>
                          <a:pt x="122" y="103"/>
                          <a:pt x="122" y="102"/>
                          <a:pt x="122" y="101"/>
                        </a:cubicBezTo>
                        <a:cubicBezTo>
                          <a:pt x="122" y="100"/>
                          <a:pt x="119" y="100"/>
                          <a:pt x="118" y="100"/>
                        </a:cubicBezTo>
                        <a:cubicBezTo>
                          <a:pt x="118" y="99"/>
                          <a:pt x="119" y="96"/>
                          <a:pt x="120" y="95"/>
                        </a:cubicBezTo>
                        <a:cubicBezTo>
                          <a:pt x="123" y="95"/>
                          <a:pt x="122" y="88"/>
                          <a:pt x="120" y="87"/>
                        </a:cubicBezTo>
                        <a:cubicBezTo>
                          <a:pt x="123" y="87"/>
                          <a:pt x="126" y="87"/>
                          <a:pt x="128" y="87"/>
                        </a:cubicBezTo>
                        <a:cubicBezTo>
                          <a:pt x="129" y="86"/>
                          <a:pt x="127" y="85"/>
                          <a:pt x="127" y="83"/>
                        </a:cubicBezTo>
                        <a:cubicBezTo>
                          <a:pt x="129" y="83"/>
                          <a:pt x="131" y="83"/>
                          <a:pt x="133" y="83"/>
                        </a:cubicBezTo>
                        <a:cubicBezTo>
                          <a:pt x="134" y="87"/>
                          <a:pt x="135" y="89"/>
                          <a:pt x="139" y="89"/>
                        </a:cubicBezTo>
                        <a:cubicBezTo>
                          <a:pt x="141" y="89"/>
                          <a:pt x="142" y="89"/>
                          <a:pt x="142" y="87"/>
                        </a:cubicBezTo>
                        <a:cubicBezTo>
                          <a:pt x="143" y="84"/>
                          <a:pt x="144" y="84"/>
                          <a:pt x="146" y="82"/>
                        </a:cubicBezTo>
                        <a:cubicBezTo>
                          <a:pt x="148" y="81"/>
                          <a:pt x="151" y="79"/>
                          <a:pt x="153" y="78"/>
                        </a:cubicBezTo>
                        <a:cubicBezTo>
                          <a:pt x="155" y="77"/>
                          <a:pt x="158" y="77"/>
                          <a:pt x="160" y="76"/>
                        </a:cubicBezTo>
                        <a:cubicBezTo>
                          <a:pt x="163" y="76"/>
                          <a:pt x="162" y="67"/>
                          <a:pt x="166" y="71"/>
                        </a:cubicBezTo>
                        <a:cubicBezTo>
                          <a:pt x="166" y="70"/>
                          <a:pt x="166" y="67"/>
                          <a:pt x="168" y="68"/>
                        </a:cubicBezTo>
                        <a:cubicBezTo>
                          <a:pt x="172" y="68"/>
                          <a:pt x="174" y="71"/>
                          <a:pt x="178" y="70"/>
                        </a:cubicBezTo>
                        <a:cubicBezTo>
                          <a:pt x="179" y="69"/>
                          <a:pt x="178" y="68"/>
                          <a:pt x="177" y="67"/>
                        </a:cubicBezTo>
                        <a:cubicBezTo>
                          <a:pt x="179" y="67"/>
                          <a:pt x="180" y="68"/>
                          <a:pt x="182" y="68"/>
                        </a:cubicBezTo>
                        <a:cubicBezTo>
                          <a:pt x="182" y="67"/>
                          <a:pt x="182" y="66"/>
                          <a:pt x="182" y="65"/>
                        </a:cubicBezTo>
                        <a:cubicBezTo>
                          <a:pt x="183" y="64"/>
                          <a:pt x="184" y="64"/>
                          <a:pt x="184" y="63"/>
                        </a:cubicBezTo>
                        <a:cubicBezTo>
                          <a:pt x="184" y="62"/>
                          <a:pt x="181" y="59"/>
                          <a:pt x="182" y="59"/>
                        </a:cubicBezTo>
                        <a:cubicBezTo>
                          <a:pt x="184" y="58"/>
                          <a:pt x="186" y="59"/>
                          <a:pt x="187" y="59"/>
                        </a:cubicBezTo>
                        <a:cubicBezTo>
                          <a:pt x="189" y="60"/>
                          <a:pt x="189" y="62"/>
                          <a:pt x="192" y="62"/>
                        </a:cubicBezTo>
                        <a:cubicBezTo>
                          <a:pt x="192" y="61"/>
                          <a:pt x="192" y="60"/>
                          <a:pt x="192" y="59"/>
                        </a:cubicBezTo>
                        <a:cubicBezTo>
                          <a:pt x="192" y="59"/>
                          <a:pt x="192" y="59"/>
                          <a:pt x="192" y="59"/>
                        </a:cubicBezTo>
                        <a:cubicBezTo>
                          <a:pt x="193" y="57"/>
                          <a:pt x="192" y="53"/>
                          <a:pt x="196" y="55"/>
                        </a:cubicBezTo>
                        <a:cubicBezTo>
                          <a:pt x="196" y="53"/>
                          <a:pt x="199" y="53"/>
                          <a:pt x="201" y="53"/>
                        </a:cubicBezTo>
                        <a:cubicBezTo>
                          <a:pt x="200" y="52"/>
                          <a:pt x="200" y="51"/>
                          <a:pt x="198" y="51"/>
                        </a:cubicBezTo>
                        <a:cubicBezTo>
                          <a:pt x="198" y="49"/>
                          <a:pt x="202" y="48"/>
                          <a:pt x="202" y="47"/>
                        </a:cubicBezTo>
                        <a:cubicBezTo>
                          <a:pt x="205" y="44"/>
                          <a:pt x="206" y="42"/>
                          <a:pt x="206" y="38"/>
                        </a:cubicBezTo>
                        <a:cubicBezTo>
                          <a:pt x="201" y="37"/>
                          <a:pt x="205" y="35"/>
                          <a:pt x="204" y="33"/>
                        </a:cubicBezTo>
                        <a:cubicBezTo>
                          <a:pt x="206" y="33"/>
                          <a:pt x="208" y="33"/>
                          <a:pt x="209" y="33"/>
                        </a:cubicBezTo>
                        <a:cubicBezTo>
                          <a:pt x="209" y="31"/>
                          <a:pt x="210" y="29"/>
                          <a:pt x="209" y="27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0" name="Rectangle 332">
                    <a:extLst>
                      <a:ext uri="{FF2B5EF4-FFF2-40B4-BE49-F238E27FC236}">
                        <a16:creationId xmlns:a16="http://schemas.microsoft.com/office/drawing/2014/main" xmlns="" id="{49514640-D65D-4B80-AD83-641207FBB81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737101" y="3333751"/>
                    <a:ext cx="1588" cy="1588"/>
                  </a:xfrm>
                  <a:prstGeom prst="rect">
                    <a:avLst/>
                  </a:pr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1" name="Freeform 333">
                    <a:extLst>
                      <a:ext uri="{FF2B5EF4-FFF2-40B4-BE49-F238E27FC236}">
                        <a16:creationId xmlns:a16="http://schemas.microsoft.com/office/drawing/2014/main" xmlns="" id="{28E31B2D-E0BA-4645-A8F0-ED1CF540474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76776" y="3425826"/>
                    <a:ext cx="41275" cy="14288"/>
                  </a:xfrm>
                  <a:custGeom>
                    <a:avLst/>
                    <a:gdLst>
                      <a:gd name="T0" fmla="*/ 0 w 26"/>
                      <a:gd name="T1" fmla="*/ 0 h 9"/>
                      <a:gd name="T2" fmla="*/ 26 w 26"/>
                      <a:gd name="T3" fmla="*/ 9 h 9"/>
                      <a:gd name="T4" fmla="*/ 0 w 26"/>
                      <a:gd name="T5" fmla="*/ 0 h 9"/>
                      <a:gd name="T6" fmla="*/ 0 w 26"/>
                      <a:gd name="T7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6" h="9">
                        <a:moveTo>
                          <a:pt x="0" y="0"/>
                        </a:moveTo>
                        <a:lnTo>
                          <a:pt x="26" y="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2" name="Freeform 334">
                    <a:extLst>
                      <a:ext uri="{FF2B5EF4-FFF2-40B4-BE49-F238E27FC236}">
                        <a16:creationId xmlns:a16="http://schemas.microsoft.com/office/drawing/2014/main" xmlns="" id="{A7535D68-E7B3-46CD-84FE-94E0FB5F7C0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43451" y="3341688"/>
                    <a:ext cx="3175" cy="6350"/>
                  </a:xfrm>
                  <a:custGeom>
                    <a:avLst/>
                    <a:gdLst>
                      <a:gd name="T0" fmla="*/ 1 w 1"/>
                      <a:gd name="T1" fmla="*/ 2 h 2"/>
                      <a:gd name="T2" fmla="*/ 0 w 1"/>
                      <a:gd name="T3" fmla="*/ 0 h 2"/>
                      <a:gd name="T4" fmla="*/ 1 w 1"/>
                      <a:gd name="T5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" h="2">
                        <a:moveTo>
                          <a:pt x="1" y="2"/>
                        </a:moveTo>
                        <a:cubicBezTo>
                          <a:pt x="0" y="1"/>
                          <a:pt x="0" y="1"/>
                          <a:pt x="0" y="0"/>
                        </a:cubicBezTo>
                        <a:cubicBezTo>
                          <a:pt x="0" y="1"/>
                          <a:pt x="0" y="1"/>
                          <a:pt x="1" y="2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3" name="Freeform 335">
                    <a:extLst>
                      <a:ext uri="{FF2B5EF4-FFF2-40B4-BE49-F238E27FC236}">
                        <a16:creationId xmlns:a16="http://schemas.microsoft.com/office/drawing/2014/main" xmlns="" id="{2868C1FF-B849-4B69-9EC6-6B93B47AEF9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59126" y="2955926"/>
                    <a:ext cx="1481138" cy="968375"/>
                  </a:xfrm>
                  <a:custGeom>
                    <a:avLst/>
                    <a:gdLst>
                      <a:gd name="T0" fmla="*/ 401 w 419"/>
                      <a:gd name="T1" fmla="*/ 157 h 274"/>
                      <a:gd name="T2" fmla="*/ 362 w 419"/>
                      <a:gd name="T3" fmla="*/ 157 h 274"/>
                      <a:gd name="T4" fmla="*/ 374 w 419"/>
                      <a:gd name="T5" fmla="*/ 188 h 274"/>
                      <a:gd name="T6" fmla="*/ 358 w 419"/>
                      <a:gd name="T7" fmla="*/ 210 h 274"/>
                      <a:gd name="T8" fmla="*/ 332 w 419"/>
                      <a:gd name="T9" fmla="*/ 224 h 274"/>
                      <a:gd name="T10" fmla="*/ 321 w 419"/>
                      <a:gd name="T11" fmla="*/ 246 h 274"/>
                      <a:gd name="T12" fmla="*/ 289 w 419"/>
                      <a:gd name="T13" fmla="*/ 258 h 274"/>
                      <a:gd name="T14" fmla="*/ 250 w 419"/>
                      <a:gd name="T15" fmla="*/ 254 h 274"/>
                      <a:gd name="T16" fmla="*/ 229 w 419"/>
                      <a:gd name="T17" fmla="*/ 260 h 274"/>
                      <a:gd name="T18" fmla="*/ 197 w 419"/>
                      <a:gd name="T19" fmla="*/ 255 h 274"/>
                      <a:gd name="T20" fmla="*/ 165 w 419"/>
                      <a:gd name="T21" fmla="*/ 254 h 274"/>
                      <a:gd name="T22" fmla="*/ 140 w 419"/>
                      <a:gd name="T23" fmla="*/ 247 h 274"/>
                      <a:gd name="T24" fmla="*/ 122 w 419"/>
                      <a:gd name="T25" fmla="*/ 267 h 274"/>
                      <a:gd name="T26" fmla="*/ 99 w 419"/>
                      <a:gd name="T27" fmla="*/ 271 h 274"/>
                      <a:gd name="T28" fmla="*/ 59 w 419"/>
                      <a:gd name="T29" fmla="*/ 256 h 274"/>
                      <a:gd name="T30" fmla="*/ 12 w 419"/>
                      <a:gd name="T31" fmla="*/ 230 h 274"/>
                      <a:gd name="T32" fmla="*/ 5 w 419"/>
                      <a:gd name="T33" fmla="*/ 198 h 274"/>
                      <a:gd name="T34" fmla="*/ 20 w 419"/>
                      <a:gd name="T35" fmla="*/ 175 h 274"/>
                      <a:gd name="T36" fmla="*/ 31 w 419"/>
                      <a:gd name="T37" fmla="*/ 160 h 274"/>
                      <a:gd name="T38" fmla="*/ 53 w 419"/>
                      <a:gd name="T39" fmla="*/ 124 h 274"/>
                      <a:gd name="T40" fmla="*/ 44 w 419"/>
                      <a:gd name="T41" fmla="*/ 100 h 274"/>
                      <a:gd name="T42" fmla="*/ 54 w 419"/>
                      <a:gd name="T43" fmla="*/ 85 h 274"/>
                      <a:gd name="T44" fmla="*/ 69 w 419"/>
                      <a:gd name="T45" fmla="*/ 95 h 274"/>
                      <a:gd name="T46" fmla="*/ 94 w 419"/>
                      <a:gd name="T47" fmla="*/ 109 h 274"/>
                      <a:gd name="T48" fmla="*/ 82 w 419"/>
                      <a:gd name="T49" fmla="*/ 129 h 274"/>
                      <a:gd name="T50" fmla="*/ 99 w 419"/>
                      <a:gd name="T51" fmla="*/ 130 h 274"/>
                      <a:gd name="T52" fmla="*/ 132 w 419"/>
                      <a:gd name="T53" fmla="*/ 121 h 274"/>
                      <a:gd name="T54" fmla="*/ 142 w 419"/>
                      <a:gd name="T55" fmla="*/ 108 h 274"/>
                      <a:gd name="T56" fmla="*/ 145 w 419"/>
                      <a:gd name="T57" fmla="*/ 87 h 274"/>
                      <a:gd name="T58" fmla="*/ 169 w 419"/>
                      <a:gd name="T59" fmla="*/ 71 h 274"/>
                      <a:gd name="T60" fmla="*/ 132 w 419"/>
                      <a:gd name="T61" fmla="*/ 63 h 274"/>
                      <a:gd name="T62" fmla="*/ 163 w 419"/>
                      <a:gd name="T63" fmla="*/ 24 h 274"/>
                      <a:gd name="T64" fmla="*/ 207 w 419"/>
                      <a:gd name="T65" fmla="*/ 4 h 274"/>
                      <a:gd name="T66" fmla="*/ 232 w 419"/>
                      <a:gd name="T67" fmla="*/ 2 h 274"/>
                      <a:gd name="T68" fmla="*/ 248 w 419"/>
                      <a:gd name="T69" fmla="*/ 27 h 274"/>
                      <a:gd name="T70" fmla="*/ 233 w 419"/>
                      <a:gd name="T71" fmla="*/ 52 h 274"/>
                      <a:gd name="T72" fmla="*/ 212 w 419"/>
                      <a:gd name="T73" fmla="*/ 66 h 274"/>
                      <a:gd name="T74" fmla="*/ 203 w 419"/>
                      <a:gd name="T75" fmla="*/ 93 h 274"/>
                      <a:gd name="T76" fmla="*/ 223 w 419"/>
                      <a:gd name="T77" fmla="*/ 120 h 274"/>
                      <a:gd name="T78" fmla="*/ 237 w 419"/>
                      <a:gd name="T79" fmla="*/ 114 h 274"/>
                      <a:gd name="T80" fmla="*/ 227 w 419"/>
                      <a:gd name="T81" fmla="*/ 93 h 274"/>
                      <a:gd name="T82" fmla="*/ 232 w 419"/>
                      <a:gd name="T83" fmla="*/ 68 h 274"/>
                      <a:gd name="T84" fmla="*/ 235 w 419"/>
                      <a:gd name="T85" fmla="*/ 75 h 274"/>
                      <a:gd name="T86" fmla="*/ 240 w 419"/>
                      <a:gd name="T87" fmla="*/ 78 h 274"/>
                      <a:gd name="T88" fmla="*/ 256 w 419"/>
                      <a:gd name="T89" fmla="*/ 80 h 274"/>
                      <a:gd name="T90" fmla="*/ 267 w 419"/>
                      <a:gd name="T91" fmla="*/ 84 h 274"/>
                      <a:gd name="T92" fmla="*/ 301 w 419"/>
                      <a:gd name="T93" fmla="*/ 71 h 274"/>
                      <a:gd name="T94" fmla="*/ 303 w 419"/>
                      <a:gd name="T95" fmla="*/ 89 h 274"/>
                      <a:gd name="T96" fmla="*/ 314 w 419"/>
                      <a:gd name="T97" fmla="*/ 87 h 274"/>
                      <a:gd name="T98" fmla="*/ 325 w 419"/>
                      <a:gd name="T99" fmla="*/ 85 h 274"/>
                      <a:gd name="T100" fmla="*/ 325 w 419"/>
                      <a:gd name="T101" fmla="*/ 96 h 274"/>
                      <a:gd name="T102" fmla="*/ 352 w 419"/>
                      <a:gd name="T103" fmla="*/ 85 h 274"/>
                      <a:gd name="T104" fmla="*/ 367 w 419"/>
                      <a:gd name="T105" fmla="*/ 91 h 274"/>
                      <a:gd name="T106" fmla="*/ 390 w 419"/>
                      <a:gd name="T107" fmla="*/ 109 h 274"/>
                      <a:gd name="T108" fmla="*/ 413 w 419"/>
                      <a:gd name="T109" fmla="*/ 110 h 274"/>
                      <a:gd name="T110" fmla="*/ 413 w 419"/>
                      <a:gd name="T111" fmla="*/ 124 h 274"/>
                      <a:gd name="T112" fmla="*/ 415 w 419"/>
                      <a:gd name="T113" fmla="*/ 143 h 2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419" h="274">
                        <a:moveTo>
                          <a:pt x="415" y="144"/>
                        </a:moveTo>
                        <a:cubicBezTo>
                          <a:pt x="414" y="145"/>
                          <a:pt x="414" y="147"/>
                          <a:pt x="412" y="147"/>
                        </a:cubicBezTo>
                        <a:cubicBezTo>
                          <a:pt x="410" y="148"/>
                          <a:pt x="408" y="147"/>
                          <a:pt x="408" y="149"/>
                        </a:cubicBezTo>
                        <a:cubicBezTo>
                          <a:pt x="408" y="150"/>
                          <a:pt x="408" y="152"/>
                          <a:pt x="407" y="153"/>
                        </a:cubicBezTo>
                        <a:cubicBezTo>
                          <a:pt x="405" y="153"/>
                          <a:pt x="404" y="152"/>
                          <a:pt x="403" y="152"/>
                        </a:cubicBezTo>
                        <a:cubicBezTo>
                          <a:pt x="402" y="153"/>
                          <a:pt x="403" y="156"/>
                          <a:pt x="401" y="157"/>
                        </a:cubicBezTo>
                        <a:cubicBezTo>
                          <a:pt x="400" y="157"/>
                          <a:pt x="400" y="155"/>
                          <a:pt x="399" y="154"/>
                        </a:cubicBezTo>
                        <a:cubicBezTo>
                          <a:pt x="397" y="153"/>
                          <a:pt x="395" y="154"/>
                          <a:pt x="394" y="154"/>
                        </a:cubicBezTo>
                        <a:cubicBezTo>
                          <a:pt x="394" y="151"/>
                          <a:pt x="389" y="153"/>
                          <a:pt x="387" y="153"/>
                        </a:cubicBezTo>
                        <a:cubicBezTo>
                          <a:pt x="388" y="149"/>
                          <a:pt x="369" y="151"/>
                          <a:pt x="366" y="151"/>
                        </a:cubicBezTo>
                        <a:cubicBezTo>
                          <a:pt x="367" y="144"/>
                          <a:pt x="356" y="148"/>
                          <a:pt x="360" y="151"/>
                        </a:cubicBezTo>
                        <a:cubicBezTo>
                          <a:pt x="362" y="153"/>
                          <a:pt x="366" y="154"/>
                          <a:pt x="362" y="157"/>
                        </a:cubicBezTo>
                        <a:cubicBezTo>
                          <a:pt x="359" y="160"/>
                          <a:pt x="356" y="162"/>
                          <a:pt x="360" y="166"/>
                        </a:cubicBezTo>
                        <a:cubicBezTo>
                          <a:pt x="362" y="168"/>
                          <a:pt x="365" y="164"/>
                          <a:pt x="367" y="165"/>
                        </a:cubicBezTo>
                        <a:cubicBezTo>
                          <a:pt x="369" y="166"/>
                          <a:pt x="371" y="169"/>
                          <a:pt x="372" y="166"/>
                        </a:cubicBezTo>
                        <a:cubicBezTo>
                          <a:pt x="374" y="167"/>
                          <a:pt x="375" y="169"/>
                          <a:pt x="375" y="170"/>
                        </a:cubicBezTo>
                        <a:cubicBezTo>
                          <a:pt x="379" y="170"/>
                          <a:pt x="383" y="177"/>
                          <a:pt x="384" y="180"/>
                        </a:cubicBezTo>
                        <a:cubicBezTo>
                          <a:pt x="385" y="188"/>
                          <a:pt x="380" y="188"/>
                          <a:pt x="374" y="188"/>
                        </a:cubicBezTo>
                        <a:cubicBezTo>
                          <a:pt x="374" y="190"/>
                          <a:pt x="373" y="190"/>
                          <a:pt x="371" y="191"/>
                        </a:cubicBezTo>
                        <a:cubicBezTo>
                          <a:pt x="370" y="192"/>
                          <a:pt x="370" y="194"/>
                          <a:pt x="370" y="196"/>
                        </a:cubicBezTo>
                        <a:cubicBezTo>
                          <a:pt x="370" y="198"/>
                          <a:pt x="368" y="198"/>
                          <a:pt x="367" y="199"/>
                        </a:cubicBezTo>
                        <a:cubicBezTo>
                          <a:pt x="365" y="201"/>
                          <a:pt x="366" y="202"/>
                          <a:pt x="365" y="204"/>
                        </a:cubicBezTo>
                        <a:cubicBezTo>
                          <a:pt x="365" y="206"/>
                          <a:pt x="363" y="206"/>
                          <a:pt x="361" y="207"/>
                        </a:cubicBezTo>
                        <a:cubicBezTo>
                          <a:pt x="359" y="208"/>
                          <a:pt x="359" y="209"/>
                          <a:pt x="358" y="210"/>
                        </a:cubicBezTo>
                        <a:cubicBezTo>
                          <a:pt x="357" y="212"/>
                          <a:pt x="351" y="211"/>
                          <a:pt x="351" y="215"/>
                        </a:cubicBezTo>
                        <a:cubicBezTo>
                          <a:pt x="349" y="215"/>
                          <a:pt x="348" y="214"/>
                          <a:pt x="347" y="214"/>
                        </a:cubicBezTo>
                        <a:cubicBezTo>
                          <a:pt x="345" y="214"/>
                          <a:pt x="345" y="214"/>
                          <a:pt x="344" y="215"/>
                        </a:cubicBezTo>
                        <a:cubicBezTo>
                          <a:pt x="341" y="216"/>
                          <a:pt x="338" y="215"/>
                          <a:pt x="335" y="215"/>
                        </a:cubicBezTo>
                        <a:cubicBezTo>
                          <a:pt x="335" y="218"/>
                          <a:pt x="335" y="221"/>
                          <a:pt x="335" y="224"/>
                        </a:cubicBezTo>
                        <a:cubicBezTo>
                          <a:pt x="334" y="224"/>
                          <a:pt x="333" y="224"/>
                          <a:pt x="332" y="224"/>
                        </a:cubicBezTo>
                        <a:cubicBezTo>
                          <a:pt x="331" y="225"/>
                          <a:pt x="328" y="229"/>
                          <a:pt x="330" y="230"/>
                        </a:cubicBezTo>
                        <a:cubicBezTo>
                          <a:pt x="330" y="231"/>
                          <a:pt x="330" y="232"/>
                          <a:pt x="330" y="233"/>
                        </a:cubicBezTo>
                        <a:cubicBezTo>
                          <a:pt x="328" y="234"/>
                          <a:pt x="327" y="232"/>
                          <a:pt x="324" y="232"/>
                        </a:cubicBezTo>
                        <a:cubicBezTo>
                          <a:pt x="324" y="234"/>
                          <a:pt x="324" y="236"/>
                          <a:pt x="324" y="238"/>
                        </a:cubicBezTo>
                        <a:cubicBezTo>
                          <a:pt x="322" y="239"/>
                          <a:pt x="320" y="238"/>
                          <a:pt x="320" y="240"/>
                        </a:cubicBezTo>
                        <a:cubicBezTo>
                          <a:pt x="320" y="242"/>
                          <a:pt x="321" y="244"/>
                          <a:pt x="321" y="246"/>
                        </a:cubicBezTo>
                        <a:cubicBezTo>
                          <a:pt x="322" y="249"/>
                          <a:pt x="320" y="252"/>
                          <a:pt x="316" y="252"/>
                        </a:cubicBezTo>
                        <a:cubicBezTo>
                          <a:pt x="316" y="257"/>
                          <a:pt x="319" y="268"/>
                          <a:pt x="311" y="269"/>
                        </a:cubicBezTo>
                        <a:cubicBezTo>
                          <a:pt x="304" y="270"/>
                          <a:pt x="304" y="270"/>
                          <a:pt x="304" y="270"/>
                        </a:cubicBezTo>
                        <a:cubicBezTo>
                          <a:pt x="301" y="269"/>
                          <a:pt x="298" y="266"/>
                          <a:pt x="297" y="262"/>
                        </a:cubicBezTo>
                        <a:cubicBezTo>
                          <a:pt x="296" y="260"/>
                          <a:pt x="293" y="260"/>
                          <a:pt x="293" y="259"/>
                        </a:cubicBezTo>
                        <a:cubicBezTo>
                          <a:pt x="291" y="259"/>
                          <a:pt x="290" y="259"/>
                          <a:pt x="289" y="258"/>
                        </a:cubicBezTo>
                        <a:cubicBezTo>
                          <a:pt x="288" y="257"/>
                          <a:pt x="287" y="258"/>
                          <a:pt x="286" y="258"/>
                        </a:cubicBezTo>
                        <a:cubicBezTo>
                          <a:pt x="284" y="260"/>
                          <a:pt x="283" y="261"/>
                          <a:pt x="280" y="261"/>
                        </a:cubicBezTo>
                        <a:cubicBezTo>
                          <a:pt x="277" y="261"/>
                          <a:pt x="274" y="261"/>
                          <a:pt x="272" y="260"/>
                        </a:cubicBezTo>
                        <a:cubicBezTo>
                          <a:pt x="268" y="258"/>
                          <a:pt x="266" y="258"/>
                          <a:pt x="262" y="258"/>
                        </a:cubicBezTo>
                        <a:cubicBezTo>
                          <a:pt x="261" y="259"/>
                          <a:pt x="255" y="260"/>
                          <a:pt x="255" y="258"/>
                        </a:cubicBezTo>
                        <a:cubicBezTo>
                          <a:pt x="255" y="255"/>
                          <a:pt x="252" y="254"/>
                          <a:pt x="250" y="254"/>
                        </a:cubicBezTo>
                        <a:cubicBezTo>
                          <a:pt x="246" y="254"/>
                          <a:pt x="247" y="252"/>
                          <a:pt x="245" y="251"/>
                        </a:cubicBezTo>
                        <a:cubicBezTo>
                          <a:pt x="242" y="249"/>
                          <a:pt x="242" y="253"/>
                          <a:pt x="241" y="254"/>
                        </a:cubicBezTo>
                        <a:cubicBezTo>
                          <a:pt x="240" y="254"/>
                          <a:pt x="239" y="254"/>
                          <a:pt x="238" y="255"/>
                        </a:cubicBezTo>
                        <a:cubicBezTo>
                          <a:pt x="238" y="255"/>
                          <a:pt x="238" y="256"/>
                          <a:pt x="238" y="256"/>
                        </a:cubicBezTo>
                        <a:cubicBezTo>
                          <a:pt x="235" y="256"/>
                          <a:pt x="232" y="255"/>
                          <a:pt x="229" y="255"/>
                        </a:cubicBezTo>
                        <a:cubicBezTo>
                          <a:pt x="229" y="257"/>
                          <a:pt x="229" y="258"/>
                          <a:pt x="229" y="260"/>
                        </a:cubicBezTo>
                        <a:cubicBezTo>
                          <a:pt x="225" y="260"/>
                          <a:pt x="220" y="263"/>
                          <a:pt x="216" y="261"/>
                        </a:cubicBezTo>
                        <a:cubicBezTo>
                          <a:pt x="214" y="260"/>
                          <a:pt x="212" y="256"/>
                          <a:pt x="209" y="257"/>
                        </a:cubicBezTo>
                        <a:cubicBezTo>
                          <a:pt x="208" y="258"/>
                          <a:pt x="206" y="260"/>
                          <a:pt x="205" y="258"/>
                        </a:cubicBezTo>
                        <a:cubicBezTo>
                          <a:pt x="204" y="256"/>
                          <a:pt x="205" y="255"/>
                          <a:pt x="205" y="253"/>
                        </a:cubicBezTo>
                        <a:cubicBezTo>
                          <a:pt x="203" y="253"/>
                          <a:pt x="203" y="255"/>
                          <a:pt x="202" y="256"/>
                        </a:cubicBezTo>
                        <a:cubicBezTo>
                          <a:pt x="200" y="257"/>
                          <a:pt x="199" y="255"/>
                          <a:pt x="197" y="255"/>
                        </a:cubicBezTo>
                        <a:cubicBezTo>
                          <a:pt x="194" y="253"/>
                          <a:pt x="191" y="256"/>
                          <a:pt x="190" y="259"/>
                        </a:cubicBezTo>
                        <a:cubicBezTo>
                          <a:pt x="183" y="260"/>
                          <a:pt x="178" y="263"/>
                          <a:pt x="171" y="262"/>
                        </a:cubicBezTo>
                        <a:cubicBezTo>
                          <a:pt x="168" y="261"/>
                          <a:pt x="167" y="262"/>
                          <a:pt x="166" y="260"/>
                        </a:cubicBezTo>
                        <a:cubicBezTo>
                          <a:pt x="164" y="258"/>
                          <a:pt x="162" y="261"/>
                          <a:pt x="162" y="262"/>
                        </a:cubicBezTo>
                        <a:cubicBezTo>
                          <a:pt x="160" y="262"/>
                          <a:pt x="159" y="256"/>
                          <a:pt x="158" y="254"/>
                        </a:cubicBezTo>
                        <a:cubicBezTo>
                          <a:pt x="160" y="254"/>
                          <a:pt x="163" y="255"/>
                          <a:pt x="165" y="254"/>
                        </a:cubicBezTo>
                        <a:cubicBezTo>
                          <a:pt x="165" y="255"/>
                          <a:pt x="165" y="256"/>
                          <a:pt x="165" y="256"/>
                        </a:cubicBezTo>
                        <a:cubicBezTo>
                          <a:pt x="166" y="256"/>
                          <a:pt x="167" y="255"/>
                          <a:pt x="168" y="255"/>
                        </a:cubicBezTo>
                        <a:cubicBezTo>
                          <a:pt x="165" y="252"/>
                          <a:pt x="164" y="245"/>
                          <a:pt x="160" y="244"/>
                        </a:cubicBezTo>
                        <a:cubicBezTo>
                          <a:pt x="155" y="243"/>
                          <a:pt x="153" y="245"/>
                          <a:pt x="150" y="248"/>
                        </a:cubicBezTo>
                        <a:cubicBezTo>
                          <a:pt x="149" y="248"/>
                          <a:pt x="147" y="248"/>
                          <a:pt x="146" y="249"/>
                        </a:cubicBezTo>
                        <a:cubicBezTo>
                          <a:pt x="146" y="246"/>
                          <a:pt x="141" y="247"/>
                          <a:pt x="140" y="247"/>
                        </a:cubicBezTo>
                        <a:cubicBezTo>
                          <a:pt x="136" y="248"/>
                          <a:pt x="134" y="249"/>
                          <a:pt x="131" y="250"/>
                        </a:cubicBezTo>
                        <a:cubicBezTo>
                          <a:pt x="131" y="252"/>
                          <a:pt x="130" y="253"/>
                          <a:pt x="128" y="253"/>
                        </a:cubicBezTo>
                        <a:cubicBezTo>
                          <a:pt x="129" y="254"/>
                          <a:pt x="129" y="257"/>
                          <a:pt x="127" y="258"/>
                        </a:cubicBezTo>
                        <a:cubicBezTo>
                          <a:pt x="125" y="258"/>
                          <a:pt x="124" y="258"/>
                          <a:pt x="124" y="260"/>
                        </a:cubicBezTo>
                        <a:cubicBezTo>
                          <a:pt x="122" y="260"/>
                          <a:pt x="121" y="262"/>
                          <a:pt x="119" y="264"/>
                        </a:cubicBezTo>
                        <a:cubicBezTo>
                          <a:pt x="122" y="264"/>
                          <a:pt x="123" y="265"/>
                          <a:pt x="122" y="267"/>
                        </a:cubicBezTo>
                        <a:cubicBezTo>
                          <a:pt x="120" y="267"/>
                          <a:pt x="119" y="269"/>
                          <a:pt x="118" y="269"/>
                        </a:cubicBezTo>
                        <a:cubicBezTo>
                          <a:pt x="116" y="270"/>
                          <a:pt x="114" y="269"/>
                          <a:pt x="113" y="269"/>
                        </a:cubicBezTo>
                        <a:cubicBezTo>
                          <a:pt x="112" y="271"/>
                          <a:pt x="113" y="273"/>
                          <a:pt x="111" y="273"/>
                        </a:cubicBezTo>
                        <a:cubicBezTo>
                          <a:pt x="110" y="273"/>
                          <a:pt x="108" y="273"/>
                          <a:pt x="107" y="273"/>
                        </a:cubicBezTo>
                        <a:cubicBezTo>
                          <a:pt x="105" y="273"/>
                          <a:pt x="99" y="274"/>
                          <a:pt x="99" y="271"/>
                        </a:cubicBezTo>
                        <a:cubicBezTo>
                          <a:pt x="99" y="271"/>
                          <a:pt x="99" y="271"/>
                          <a:pt x="99" y="271"/>
                        </a:cubicBezTo>
                        <a:cubicBezTo>
                          <a:pt x="100" y="269"/>
                          <a:pt x="99" y="261"/>
                          <a:pt x="97" y="260"/>
                        </a:cubicBezTo>
                        <a:cubicBezTo>
                          <a:pt x="96" y="260"/>
                          <a:pt x="93" y="260"/>
                          <a:pt x="92" y="259"/>
                        </a:cubicBezTo>
                        <a:cubicBezTo>
                          <a:pt x="91" y="256"/>
                          <a:pt x="90" y="257"/>
                          <a:pt x="87" y="257"/>
                        </a:cubicBezTo>
                        <a:cubicBezTo>
                          <a:pt x="82" y="257"/>
                          <a:pt x="76" y="259"/>
                          <a:pt x="71" y="257"/>
                        </a:cubicBezTo>
                        <a:cubicBezTo>
                          <a:pt x="69" y="256"/>
                          <a:pt x="67" y="256"/>
                          <a:pt x="65" y="257"/>
                        </a:cubicBezTo>
                        <a:cubicBezTo>
                          <a:pt x="63" y="257"/>
                          <a:pt x="61" y="256"/>
                          <a:pt x="59" y="256"/>
                        </a:cubicBezTo>
                        <a:cubicBezTo>
                          <a:pt x="54" y="256"/>
                          <a:pt x="53" y="254"/>
                          <a:pt x="51" y="250"/>
                        </a:cubicBezTo>
                        <a:cubicBezTo>
                          <a:pt x="49" y="245"/>
                          <a:pt x="47" y="244"/>
                          <a:pt x="42" y="243"/>
                        </a:cubicBezTo>
                        <a:cubicBezTo>
                          <a:pt x="38" y="243"/>
                          <a:pt x="32" y="246"/>
                          <a:pt x="28" y="243"/>
                        </a:cubicBezTo>
                        <a:cubicBezTo>
                          <a:pt x="25" y="239"/>
                          <a:pt x="26" y="235"/>
                          <a:pt x="25" y="231"/>
                        </a:cubicBezTo>
                        <a:cubicBezTo>
                          <a:pt x="19" y="226"/>
                          <a:pt x="19" y="226"/>
                          <a:pt x="19" y="226"/>
                        </a:cubicBezTo>
                        <a:cubicBezTo>
                          <a:pt x="16" y="226"/>
                          <a:pt x="17" y="232"/>
                          <a:pt x="12" y="230"/>
                        </a:cubicBezTo>
                        <a:cubicBezTo>
                          <a:pt x="10" y="230"/>
                          <a:pt x="9" y="228"/>
                          <a:pt x="7" y="228"/>
                        </a:cubicBezTo>
                        <a:cubicBezTo>
                          <a:pt x="6" y="227"/>
                          <a:pt x="6" y="226"/>
                          <a:pt x="5" y="224"/>
                        </a:cubicBezTo>
                        <a:cubicBezTo>
                          <a:pt x="5" y="222"/>
                          <a:pt x="8" y="220"/>
                          <a:pt x="7" y="218"/>
                        </a:cubicBezTo>
                        <a:cubicBezTo>
                          <a:pt x="6" y="216"/>
                          <a:pt x="5" y="214"/>
                          <a:pt x="3" y="212"/>
                        </a:cubicBezTo>
                        <a:cubicBezTo>
                          <a:pt x="0" y="208"/>
                          <a:pt x="14" y="208"/>
                          <a:pt x="15" y="208"/>
                        </a:cubicBezTo>
                        <a:cubicBezTo>
                          <a:pt x="16" y="200"/>
                          <a:pt x="3" y="206"/>
                          <a:pt x="5" y="198"/>
                        </a:cubicBezTo>
                        <a:cubicBezTo>
                          <a:pt x="8" y="198"/>
                          <a:pt x="10" y="200"/>
                          <a:pt x="12" y="198"/>
                        </a:cubicBezTo>
                        <a:cubicBezTo>
                          <a:pt x="14" y="197"/>
                          <a:pt x="14" y="195"/>
                          <a:pt x="15" y="194"/>
                        </a:cubicBezTo>
                        <a:cubicBezTo>
                          <a:pt x="19" y="193"/>
                          <a:pt x="20" y="194"/>
                          <a:pt x="23" y="191"/>
                        </a:cubicBezTo>
                        <a:cubicBezTo>
                          <a:pt x="25" y="189"/>
                          <a:pt x="27" y="187"/>
                          <a:pt x="27" y="184"/>
                        </a:cubicBezTo>
                        <a:cubicBezTo>
                          <a:pt x="27" y="181"/>
                          <a:pt x="25" y="182"/>
                          <a:pt x="23" y="181"/>
                        </a:cubicBezTo>
                        <a:cubicBezTo>
                          <a:pt x="20" y="180"/>
                          <a:pt x="20" y="177"/>
                          <a:pt x="20" y="175"/>
                        </a:cubicBezTo>
                        <a:cubicBezTo>
                          <a:pt x="20" y="174"/>
                          <a:pt x="20" y="173"/>
                          <a:pt x="20" y="172"/>
                        </a:cubicBezTo>
                        <a:cubicBezTo>
                          <a:pt x="21" y="172"/>
                          <a:pt x="21" y="172"/>
                          <a:pt x="21" y="172"/>
                        </a:cubicBezTo>
                        <a:cubicBezTo>
                          <a:pt x="22" y="172"/>
                          <a:pt x="22" y="172"/>
                          <a:pt x="22" y="171"/>
                        </a:cubicBezTo>
                        <a:cubicBezTo>
                          <a:pt x="22" y="170"/>
                          <a:pt x="26" y="171"/>
                          <a:pt x="27" y="172"/>
                        </a:cubicBezTo>
                        <a:cubicBezTo>
                          <a:pt x="29" y="168"/>
                          <a:pt x="36" y="170"/>
                          <a:pt x="39" y="166"/>
                        </a:cubicBezTo>
                        <a:cubicBezTo>
                          <a:pt x="41" y="163"/>
                          <a:pt x="33" y="161"/>
                          <a:pt x="31" y="160"/>
                        </a:cubicBezTo>
                        <a:cubicBezTo>
                          <a:pt x="34" y="158"/>
                          <a:pt x="32" y="157"/>
                          <a:pt x="33" y="155"/>
                        </a:cubicBezTo>
                        <a:cubicBezTo>
                          <a:pt x="37" y="153"/>
                          <a:pt x="42" y="152"/>
                          <a:pt x="47" y="150"/>
                        </a:cubicBezTo>
                        <a:cubicBezTo>
                          <a:pt x="50" y="148"/>
                          <a:pt x="51" y="144"/>
                          <a:pt x="51" y="141"/>
                        </a:cubicBezTo>
                        <a:cubicBezTo>
                          <a:pt x="51" y="139"/>
                          <a:pt x="50" y="137"/>
                          <a:pt x="50" y="135"/>
                        </a:cubicBezTo>
                        <a:cubicBezTo>
                          <a:pt x="51" y="132"/>
                          <a:pt x="52" y="131"/>
                          <a:pt x="54" y="129"/>
                        </a:cubicBezTo>
                        <a:cubicBezTo>
                          <a:pt x="55" y="127"/>
                          <a:pt x="54" y="126"/>
                          <a:pt x="53" y="124"/>
                        </a:cubicBezTo>
                        <a:cubicBezTo>
                          <a:pt x="52" y="122"/>
                          <a:pt x="52" y="119"/>
                          <a:pt x="52" y="117"/>
                        </a:cubicBezTo>
                        <a:cubicBezTo>
                          <a:pt x="49" y="116"/>
                          <a:pt x="47" y="116"/>
                          <a:pt x="44" y="116"/>
                        </a:cubicBezTo>
                        <a:cubicBezTo>
                          <a:pt x="45" y="115"/>
                          <a:pt x="47" y="114"/>
                          <a:pt x="47" y="112"/>
                        </a:cubicBezTo>
                        <a:cubicBezTo>
                          <a:pt x="48" y="111"/>
                          <a:pt x="46" y="108"/>
                          <a:pt x="49" y="107"/>
                        </a:cubicBezTo>
                        <a:cubicBezTo>
                          <a:pt x="48" y="106"/>
                          <a:pt x="46" y="105"/>
                          <a:pt x="44" y="105"/>
                        </a:cubicBezTo>
                        <a:cubicBezTo>
                          <a:pt x="44" y="103"/>
                          <a:pt x="43" y="101"/>
                          <a:pt x="44" y="100"/>
                        </a:cubicBezTo>
                        <a:cubicBezTo>
                          <a:pt x="45" y="98"/>
                          <a:pt x="48" y="98"/>
                          <a:pt x="48" y="97"/>
                        </a:cubicBezTo>
                        <a:cubicBezTo>
                          <a:pt x="48" y="94"/>
                          <a:pt x="44" y="90"/>
                          <a:pt x="50" y="91"/>
                        </a:cubicBezTo>
                        <a:cubicBezTo>
                          <a:pt x="49" y="93"/>
                          <a:pt x="51" y="92"/>
                          <a:pt x="52" y="93"/>
                        </a:cubicBezTo>
                        <a:cubicBezTo>
                          <a:pt x="53" y="94"/>
                          <a:pt x="54" y="96"/>
                          <a:pt x="56" y="95"/>
                        </a:cubicBezTo>
                        <a:cubicBezTo>
                          <a:pt x="56" y="90"/>
                          <a:pt x="47" y="86"/>
                          <a:pt x="50" y="81"/>
                        </a:cubicBezTo>
                        <a:cubicBezTo>
                          <a:pt x="53" y="81"/>
                          <a:pt x="53" y="84"/>
                          <a:pt x="54" y="85"/>
                        </a:cubicBezTo>
                        <a:cubicBezTo>
                          <a:pt x="55" y="87"/>
                          <a:pt x="59" y="87"/>
                          <a:pt x="60" y="86"/>
                        </a:cubicBezTo>
                        <a:cubicBezTo>
                          <a:pt x="63" y="85"/>
                          <a:pt x="62" y="82"/>
                          <a:pt x="63" y="80"/>
                        </a:cubicBezTo>
                        <a:cubicBezTo>
                          <a:pt x="65" y="77"/>
                          <a:pt x="70" y="78"/>
                          <a:pt x="73" y="78"/>
                        </a:cubicBezTo>
                        <a:cubicBezTo>
                          <a:pt x="73" y="81"/>
                          <a:pt x="73" y="83"/>
                          <a:pt x="72" y="85"/>
                        </a:cubicBezTo>
                        <a:cubicBezTo>
                          <a:pt x="69" y="84"/>
                          <a:pt x="70" y="88"/>
                          <a:pt x="70" y="90"/>
                        </a:cubicBezTo>
                        <a:cubicBezTo>
                          <a:pt x="66" y="90"/>
                          <a:pt x="65" y="94"/>
                          <a:pt x="69" y="95"/>
                        </a:cubicBezTo>
                        <a:cubicBezTo>
                          <a:pt x="73" y="96"/>
                          <a:pt x="78" y="96"/>
                          <a:pt x="82" y="96"/>
                        </a:cubicBezTo>
                        <a:cubicBezTo>
                          <a:pt x="81" y="101"/>
                          <a:pt x="85" y="98"/>
                          <a:pt x="87" y="96"/>
                        </a:cubicBezTo>
                        <a:cubicBezTo>
                          <a:pt x="90" y="95"/>
                          <a:pt x="91" y="94"/>
                          <a:pt x="94" y="95"/>
                        </a:cubicBezTo>
                        <a:cubicBezTo>
                          <a:pt x="95" y="97"/>
                          <a:pt x="94" y="100"/>
                          <a:pt x="94" y="103"/>
                        </a:cubicBezTo>
                        <a:cubicBezTo>
                          <a:pt x="96" y="103"/>
                          <a:pt x="97" y="103"/>
                          <a:pt x="99" y="103"/>
                        </a:cubicBezTo>
                        <a:cubicBezTo>
                          <a:pt x="99" y="106"/>
                          <a:pt x="98" y="114"/>
                          <a:pt x="94" y="109"/>
                        </a:cubicBezTo>
                        <a:cubicBezTo>
                          <a:pt x="91" y="109"/>
                          <a:pt x="90" y="112"/>
                          <a:pt x="91" y="114"/>
                        </a:cubicBezTo>
                        <a:cubicBezTo>
                          <a:pt x="91" y="116"/>
                          <a:pt x="93" y="115"/>
                          <a:pt x="93" y="118"/>
                        </a:cubicBezTo>
                        <a:cubicBezTo>
                          <a:pt x="93" y="120"/>
                          <a:pt x="92" y="121"/>
                          <a:pt x="92" y="123"/>
                        </a:cubicBezTo>
                        <a:cubicBezTo>
                          <a:pt x="93" y="126"/>
                          <a:pt x="96" y="125"/>
                          <a:pt x="96" y="127"/>
                        </a:cubicBezTo>
                        <a:cubicBezTo>
                          <a:pt x="93" y="128"/>
                          <a:pt x="92" y="130"/>
                          <a:pt x="88" y="130"/>
                        </a:cubicBezTo>
                        <a:cubicBezTo>
                          <a:pt x="86" y="131"/>
                          <a:pt x="84" y="130"/>
                          <a:pt x="82" y="129"/>
                        </a:cubicBezTo>
                        <a:cubicBezTo>
                          <a:pt x="78" y="127"/>
                          <a:pt x="78" y="135"/>
                          <a:pt x="79" y="137"/>
                        </a:cubicBezTo>
                        <a:cubicBezTo>
                          <a:pt x="84" y="137"/>
                          <a:pt x="83" y="140"/>
                          <a:pt x="87" y="142"/>
                        </a:cubicBezTo>
                        <a:cubicBezTo>
                          <a:pt x="87" y="140"/>
                          <a:pt x="87" y="138"/>
                          <a:pt x="88" y="137"/>
                        </a:cubicBezTo>
                        <a:cubicBezTo>
                          <a:pt x="90" y="136"/>
                          <a:pt x="94" y="137"/>
                          <a:pt x="97" y="137"/>
                        </a:cubicBezTo>
                        <a:cubicBezTo>
                          <a:pt x="97" y="136"/>
                          <a:pt x="98" y="135"/>
                          <a:pt x="100" y="136"/>
                        </a:cubicBezTo>
                        <a:cubicBezTo>
                          <a:pt x="100" y="133"/>
                          <a:pt x="99" y="132"/>
                          <a:pt x="99" y="130"/>
                        </a:cubicBezTo>
                        <a:cubicBezTo>
                          <a:pt x="101" y="130"/>
                          <a:pt x="103" y="130"/>
                          <a:pt x="104" y="128"/>
                        </a:cubicBezTo>
                        <a:cubicBezTo>
                          <a:pt x="106" y="126"/>
                          <a:pt x="108" y="123"/>
                          <a:pt x="108" y="120"/>
                        </a:cubicBezTo>
                        <a:cubicBezTo>
                          <a:pt x="111" y="119"/>
                          <a:pt x="114" y="121"/>
                          <a:pt x="118" y="122"/>
                        </a:cubicBezTo>
                        <a:cubicBezTo>
                          <a:pt x="121" y="122"/>
                          <a:pt x="124" y="122"/>
                          <a:pt x="127" y="124"/>
                        </a:cubicBezTo>
                        <a:cubicBezTo>
                          <a:pt x="127" y="123"/>
                          <a:pt x="128" y="122"/>
                          <a:pt x="128" y="121"/>
                        </a:cubicBezTo>
                        <a:cubicBezTo>
                          <a:pt x="129" y="121"/>
                          <a:pt x="130" y="121"/>
                          <a:pt x="132" y="121"/>
                        </a:cubicBezTo>
                        <a:cubicBezTo>
                          <a:pt x="132" y="120"/>
                          <a:pt x="132" y="120"/>
                          <a:pt x="132" y="120"/>
                        </a:cubicBezTo>
                        <a:cubicBezTo>
                          <a:pt x="132" y="121"/>
                          <a:pt x="132" y="123"/>
                          <a:pt x="132" y="124"/>
                        </a:cubicBezTo>
                        <a:cubicBezTo>
                          <a:pt x="134" y="124"/>
                          <a:pt x="135" y="126"/>
                          <a:pt x="137" y="125"/>
                        </a:cubicBezTo>
                        <a:cubicBezTo>
                          <a:pt x="137" y="127"/>
                          <a:pt x="138" y="129"/>
                          <a:pt x="140" y="129"/>
                        </a:cubicBezTo>
                        <a:cubicBezTo>
                          <a:pt x="140" y="126"/>
                          <a:pt x="145" y="126"/>
                          <a:pt x="145" y="124"/>
                        </a:cubicBezTo>
                        <a:cubicBezTo>
                          <a:pt x="141" y="123"/>
                          <a:pt x="143" y="111"/>
                          <a:pt x="142" y="108"/>
                        </a:cubicBezTo>
                        <a:cubicBezTo>
                          <a:pt x="145" y="107"/>
                          <a:pt x="146" y="110"/>
                          <a:pt x="148" y="111"/>
                        </a:cubicBezTo>
                        <a:cubicBezTo>
                          <a:pt x="152" y="112"/>
                          <a:pt x="153" y="107"/>
                          <a:pt x="153" y="105"/>
                        </a:cubicBezTo>
                        <a:cubicBezTo>
                          <a:pt x="153" y="101"/>
                          <a:pt x="152" y="100"/>
                          <a:pt x="149" y="99"/>
                        </a:cubicBezTo>
                        <a:cubicBezTo>
                          <a:pt x="145" y="98"/>
                          <a:pt x="143" y="97"/>
                          <a:pt x="142" y="94"/>
                        </a:cubicBezTo>
                        <a:cubicBezTo>
                          <a:pt x="144" y="94"/>
                          <a:pt x="148" y="94"/>
                          <a:pt x="147" y="91"/>
                        </a:cubicBezTo>
                        <a:cubicBezTo>
                          <a:pt x="147" y="89"/>
                          <a:pt x="145" y="89"/>
                          <a:pt x="145" y="87"/>
                        </a:cubicBezTo>
                        <a:cubicBezTo>
                          <a:pt x="144" y="86"/>
                          <a:pt x="145" y="84"/>
                          <a:pt x="145" y="83"/>
                        </a:cubicBezTo>
                        <a:cubicBezTo>
                          <a:pt x="149" y="82"/>
                          <a:pt x="152" y="83"/>
                          <a:pt x="156" y="83"/>
                        </a:cubicBezTo>
                        <a:cubicBezTo>
                          <a:pt x="159" y="82"/>
                          <a:pt x="161" y="81"/>
                          <a:pt x="164" y="80"/>
                        </a:cubicBezTo>
                        <a:cubicBezTo>
                          <a:pt x="164" y="80"/>
                          <a:pt x="164" y="82"/>
                          <a:pt x="164" y="82"/>
                        </a:cubicBezTo>
                        <a:cubicBezTo>
                          <a:pt x="166" y="82"/>
                          <a:pt x="167" y="81"/>
                          <a:pt x="169" y="82"/>
                        </a:cubicBezTo>
                        <a:cubicBezTo>
                          <a:pt x="169" y="78"/>
                          <a:pt x="169" y="75"/>
                          <a:pt x="169" y="71"/>
                        </a:cubicBezTo>
                        <a:cubicBezTo>
                          <a:pt x="166" y="72"/>
                          <a:pt x="167" y="68"/>
                          <a:pt x="167" y="66"/>
                        </a:cubicBezTo>
                        <a:cubicBezTo>
                          <a:pt x="163" y="66"/>
                          <a:pt x="162" y="67"/>
                          <a:pt x="161" y="71"/>
                        </a:cubicBezTo>
                        <a:cubicBezTo>
                          <a:pt x="160" y="71"/>
                          <a:pt x="159" y="70"/>
                          <a:pt x="158" y="69"/>
                        </a:cubicBezTo>
                        <a:cubicBezTo>
                          <a:pt x="156" y="69"/>
                          <a:pt x="155" y="70"/>
                          <a:pt x="153" y="70"/>
                        </a:cubicBezTo>
                        <a:cubicBezTo>
                          <a:pt x="148" y="71"/>
                          <a:pt x="142" y="70"/>
                          <a:pt x="137" y="68"/>
                        </a:cubicBezTo>
                        <a:cubicBezTo>
                          <a:pt x="134" y="67"/>
                          <a:pt x="133" y="66"/>
                          <a:pt x="132" y="63"/>
                        </a:cubicBezTo>
                        <a:cubicBezTo>
                          <a:pt x="131" y="59"/>
                          <a:pt x="130" y="54"/>
                          <a:pt x="128" y="50"/>
                        </a:cubicBezTo>
                        <a:cubicBezTo>
                          <a:pt x="132" y="51"/>
                          <a:pt x="130" y="46"/>
                          <a:pt x="132" y="44"/>
                        </a:cubicBezTo>
                        <a:cubicBezTo>
                          <a:pt x="136" y="44"/>
                          <a:pt x="140" y="43"/>
                          <a:pt x="143" y="39"/>
                        </a:cubicBezTo>
                        <a:cubicBezTo>
                          <a:pt x="145" y="36"/>
                          <a:pt x="148" y="31"/>
                          <a:pt x="153" y="30"/>
                        </a:cubicBezTo>
                        <a:cubicBezTo>
                          <a:pt x="155" y="30"/>
                          <a:pt x="158" y="30"/>
                          <a:pt x="160" y="28"/>
                        </a:cubicBezTo>
                        <a:cubicBezTo>
                          <a:pt x="161" y="26"/>
                          <a:pt x="161" y="25"/>
                          <a:pt x="163" y="24"/>
                        </a:cubicBezTo>
                        <a:cubicBezTo>
                          <a:pt x="166" y="23"/>
                          <a:pt x="171" y="23"/>
                          <a:pt x="173" y="20"/>
                        </a:cubicBezTo>
                        <a:cubicBezTo>
                          <a:pt x="176" y="20"/>
                          <a:pt x="179" y="19"/>
                          <a:pt x="181" y="17"/>
                        </a:cubicBezTo>
                        <a:cubicBezTo>
                          <a:pt x="182" y="16"/>
                          <a:pt x="183" y="15"/>
                          <a:pt x="184" y="14"/>
                        </a:cubicBezTo>
                        <a:cubicBezTo>
                          <a:pt x="186" y="13"/>
                          <a:pt x="188" y="13"/>
                          <a:pt x="190" y="13"/>
                        </a:cubicBezTo>
                        <a:cubicBezTo>
                          <a:pt x="191" y="5"/>
                          <a:pt x="201" y="8"/>
                          <a:pt x="206" y="7"/>
                        </a:cubicBezTo>
                        <a:cubicBezTo>
                          <a:pt x="207" y="4"/>
                          <a:pt x="207" y="4"/>
                          <a:pt x="207" y="4"/>
                        </a:cubicBezTo>
                        <a:cubicBezTo>
                          <a:pt x="208" y="2"/>
                          <a:pt x="210" y="1"/>
                          <a:pt x="211" y="0"/>
                        </a:cubicBezTo>
                        <a:cubicBezTo>
                          <a:pt x="211" y="0"/>
                          <a:pt x="211" y="0"/>
                          <a:pt x="211" y="0"/>
                        </a:cubicBezTo>
                        <a:cubicBezTo>
                          <a:pt x="212" y="0"/>
                          <a:pt x="212" y="0"/>
                          <a:pt x="212" y="0"/>
                        </a:cubicBezTo>
                        <a:cubicBezTo>
                          <a:pt x="214" y="1"/>
                          <a:pt x="216" y="0"/>
                          <a:pt x="218" y="0"/>
                        </a:cubicBezTo>
                        <a:cubicBezTo>
                          <a:pt x="220" y="0"/>
                          <a:pt x="222" y="2"/>
                          <a:pt x="225" y="2"/>
                        </a:cubicBezTo>
                        <a:cubicBezTo>
                          <a:pt x="227" y="2"/>
                          <a:pt x="229" y="2"/>
                          <a:pt x="232" y="2"/>
                        </a:cubicBezTo>
                        <a:cubicBezTo>
                          <a:pt x="232" y="1"/>
                          <a:pt x="232" y="1"/>
                          <a:pt x="232" y="1"/>
                        </a:cubicBezTo>
                        <a:cubicBezTo>
                          <a:pt x="236" y="1"/>
                          <a:pt x="237" y="2"/>
                          <a:pt x="239" y="4"/>
                        </a:cubicBezTo>
                        <a:cubicBezTo>
                          <a:pt x="239" y="6"/>
                          <a:pt x="241" y="6"/>
                          <a:pt x="243" y="7"/>
                        </a:cubicBezTo>
                        <a:cubicBezTo>
                          <a:pt x="245" y="7"/>
                          <a:pt x="245" y="9"/>
                          <a:pt x="245" y="11"/>
                        </a:cubicBezTo>
                        <a:cubicBezTo>
                          <a:pt x="245" y="14"/>
                          <a:pt x="247" y="16"/>
                          <a:pt x="248" y="18"/>
                        </a:cubicBezTo>
                        <a:cubicBezTo>
                          <a:pt x="250" y="21"/>
                          <a:pt x="248" y="24"/>
                          <a:pt x="248" y="27"/>
                        </a:cubicBezTo>
                        <a:cubicBezTo>
                          <a:pt x="244" y="28"/>
                          <a:pt x="246" y="31"/>
                          <a:pt x="244" y="31"/>
                        </a:cubicBezTo>
                        <a:cubicBezTo>
                          <a:pt x="243" y="33"/>
                          <a:pt x="244" y="34"/>
                          <a:pt x="243" y="36"/>
                        </a:cubicBezTo>
                        <a:cubicBezTo>
                          <a:pt x="241" y="37"/>
                          <a:pt x="241" y="41"/>
                          <a:pt x="239" y="43"/>
                        </a:cubicBezTo>
                        <a:cubicBezTo>
                          <a:pt x="238" y="45"/>
                          <a:pt x="236" y="47"/>
                          <a:pt x="236" y="49"/>
                        </a:cubicBezTo>
                        <a:cubicBezTo>
                          <a:pt x="234" y="47"/>
                          <a:pt x="234" y="51"/>
                          <a:pt x="234" y="52"/>
                        </a:cubicBezTo>
                        <a:cubicBezTo>
                          <a:pt x="233" y="52"/>
                          <a:pt x="233" y="52"/>
                          <a:pt x="233" y="52"/>
                        </a:cubicBezTo>
                        <a:cubicBezTo>
                          <a:pt x="233" y="54"/>
                          <a:pt x="236" y="56"/>
                          <a:pt x="235" y="57"/>
                        </a:cubicBezTo>
                        <a:cubicBezTo>
                          <a:pt x="234" y="59"/>
                          <a:pt x="233" y="58"/>
                          <a:pt x="231" y="58"/>
                        </a:cubicBezTo>
                        <a:cubicBezTo>
                          <a:pt x="230" y="58"/>
                          <a:pt x="229" y="59"/>
                          <a:pt x="228" y="60"/>
                        </a:cubicBezTo>
                        <a:cubicBezTo>
                          <a:pt x="225" y="61"/>
                          <a:pt x="222" y="60"/>
                          <a:pt x="219" y="60"/>
                        </a:cubicBezTo>
                        <a:cubicBezTo>
                          <a:pt x="216" y="60"/>
                          <a:pt x="217" y="64"/>
                          <a:pt x="216" y="66"/>
                        </a:cubicBezTo>
                        <a:cubicBezTo>
                          <a:pt x="215" y="66"/>
                          <a:pt x="213" y="65"/>
                          <a:pt x="212" y="66"/>
                        </a:cubicBezTo>
                        <a:cubicBezTo>
                          <a:pt x="212" y="67"/>
                          <a:pt x="212" y="69"/>
                          <a:pt x="212" y="70"/>
                        </a:cubicBezTo>
                        <a:cubicBezTo>
                          <a:pt x="212" y="72"/>
                          <a:pt x="211" y="77"/>
                          <a:pt x="215" y="77"/>
                        </a:cubicBezTo>
                        <a:cubicBezTo>
                          <a:pt x="215" y="78"/>
                          <a:pt x="216" y="79"/>
                          <a:pt x="216" y="81"/>
                        </a:cubicBezTo>
                        <a:cubicBezTo>
                          <a:pt x="213" y="80"/>
                          <a:pt x="214" y="84"/>
                          <a:pt x="211" y="83"/>
                        </a:cubicBezTo>
                        <a:cubicBezTo>
                          <a:pt x="211" y="86"/>
                          <a:pt x="211" y="88"/>
                          <a:pt x="209" y="90"/>
                        </a:cubicBezTo>
                        <a:cubicBezTo>
                          <a:pt x="208" y="91"/>
                          <a:pt x="205" y="93"/>
                          <a:pt x="203" y="93"/>
                        </a:cubicBezTo>
                        <a:cubicBezTo>
                          <a:pt x="203" y="96"/>
                          <a:pt x="212" y="108"/>
                          <a:pt x="206" y="110"/>
                        </a:cubicBezTo>
                        <a:cubicBezTo>
                          <a:pt x="205" y="112"/>
                          <a:pt x="207" y="112"/>
                          <a:pt x="209" y="113"/>
                        </a:cubicBezTo>
                        <a:cubicBezTo>
                          <a:pt x="214" y="114"/>
                          <a:pt x="211" y="119"/>
                          <a:pt x="211" y="122"/>
                        </a:cubicBezTo>
                        <a:cubicBezTo>
                          <a:pt x="212" y="122"/>
                          <a:pt x="213" y="123"/>
                          <a:pt x="215" y="123"/>
                        </a:cubicBezTo>
                        <a:cubicBezTo>
                          <a:pt x="215" y="120"/>
                          <a:pt x="215" y="118"/>
                          <a:pt x="218" y="117"/>
                        </a:cubicBezTo>
                        <a:cubicBezTo>
                          <a:pt x="218" y="120"/>
                          <a:pt x="221" y="118"/>
                          <a:pt x="223" y="120"/>
                        </a:cubicBezTo>
                        <a:cubicBezTo>
                          <a:pt x="225" y="121"/>
                          <a:pt x="223" y="126"/>
                          <a:pt x="227" y="126"/>
                        </a:cubicBezTo>
                        <a:cubicBezTo>
                          <a:pt x="227" y="126"/>
                          <a:pt x="228" y="125"/>
                          <a:pt x="227" y="125"/>
                        </a:cubicBezTo>
                        <a:cubicBezTo>
                          <a:pt x="229" y="124"/>
                          <a:pt x="232" y="124"/>
                          <a:pt x="232" y="127"/>
                        </a:cubicBezTo>
                        <a:cubicBezTo>
                          <a:pt x="235" y="126"/>
                          <a:pt x="236" y="124"/>
                          <a:pt x="239" y="123"/>
                        </a:cubicBezTo>
                        <a:cubicBezTo>
                          <a:pt x="239" y="121"/>
                          <a:pt x="240" y="119"/>
                          <a:pt x="241" y="118"/>
                        </a:cubicBezTo>
                        <a:cubicBezTo>
                          <a:pt x="240" y="117"/>
                          <a:pt x="239" y="115"/>
                          <a:pt x="237" y="114"/>
                        </a:cubicBezTo>
                        <a:cubicBezTo>
                          <a:pt x="237" y="113"/>
                          <a:pt x="238" y="112"/>
                          <a:pt x="239" y="112"/>
                        </a:cubicBezTo>
                        <a:cubicBezTo>
                          <a:pt x="239" y="111"/>
                          <a:pt x="239" y="110"/>
                          <a:pt x="239" y="109"/>
                        </a:cubicBezTo>
                        <a:cubicBezTo>
                          <a:pt x="239" y="108"/>
                          <a:pt x="237" y="108"/>
                          <a:pt x="237" y="106"/>
                        </a:cubicBezTo>
                        <a:cubicBezTo>
                          <a:pt x="235" y="106"/>
                          <a:pt x="233" y="108"/>
                          <a:pt x="230" y="107"/>
                        </a:cubicBezTo>
                        <a:cubicBezTo>
                          <a:pt x="230" y="103"/>
                          <a:pt x="232" y="99"/>
                          <a:pt x="232" y="96"/>
                        </a:cubicBezTo>
                        <a:cubicBezTo>
                          <a:pt x="231" y="93"/>
                          <a:pt x="228" y="95"/>
                          <a:pt x="227" y="93"/>
                        </a:cubicBezTo>
                        <a:cubicBezTo>
                          <a:pt x="226" y="91"/>
                          <a:pt x="229" y="82"/>
                          <a:pt x="224" y="82"/>
                        </a:cubicBezTo>
                        <a:cubicBezTo>
                          <a:pt x="223" y="80"/>
                          <a:pt x="225" y="76"/>
                          <a:pt x="222" y="74"/>
                        </a:cubicBezTo>
                        <a:cubicBezTo>
                          <a:pt x="221" y="74"/>
                          <a:pt x="217" y="74"/>
                          <a:pt x="218" y="72"/>
                        </a:cubicBezTo>
                        <a:cubicBezTo>
                          <a:pt x="220" y="72"/>
                          <a:pt x="221" y="70"/>
                          <a:pt x="223" y="68"/>
                        </a:cubicBezTo>
                        <a:cubicBezTo>
                          <a:pt x="226" y="67"/>
                          <a:pt x="228" y="67"/>
                          <a:pt x="228" y="71"/>
                        </a:cubicBezTo>
                        <a:cubicBezTo>
                          <a:pt x="231" y="71"/>
                          <a:pt x="232" y="71"/>
                          <a:pt x="232" y="68"/>
                        </a:cubicBezTo>
                        <a:cubicBezTo>
                          <a:pt x="233" y="68"/>
                          <a:pt x="234" y="68"/>
                          <a:pt x="234" y="68"/>
                        </a:cubicBezTo>
                        <a:cubicBezTo>
                          <a:pt x="234" y="67"/>
                          <a:pt x="234" y="66"/>
                          <a:pt x="234" y="65"/>
                        </a:cubicBezTo>
                        <a:cubicBezTo>
                          <a:pt x="237" y="65"/>
                          <a:pt x="238" y="62"/>
                          <a:pt x="240" y="62"/>
                        </a:cubicBezTo>
                        <a:cubicBezTo>
                          <a:pt x="241" y="63"/>
                          <a:pt x="240" y="64"/>
                          <a:pt x="239" y="65"/>
                        </a:cubicBezTo>
                        <a:cubicBezTo>
                          <a:pt x="238" y="67"/>
                          <a:pt x="241" y="69"/>
                          <a:pt x="241" y="71"/>
                        </a:cubicBezTo>
                        <a:cubicBezTo>
                          <a:pt x="238" y="71"/>
                          <a:pt x="235" y="71"/>
                          <a:pt x="235" y="75"/>
                        </a:cubicBezTo>
                        <a:cubicBezTo>
                          <a:pt x="236" y="75"/>
                          <a:pt x="237" y="76"/>
                          <a:pt x="237" y="76"/>
                        </a:cubicBezTo>
                        <a:cubicBezTo>
                          <a:pt x="237" y="75"/>
                          <a:pt x="238" y="74"/>
                          <a:pt x="238" y="73"/>
                        </a:cubicBezTo>
                        <a:cubicBezTo>
                          <a:pt x="238" y="73"/>
                          <a:pt x="239" y="73"/>
                          <a:pt x="240" y="73"/>
                        </a:cubicBezTo>
                        <a:cubicBezTo>
                          <a:pt x="240" y="75"/>
                          <a:pt x="240" y="77"/>
                          <a:pt x="238" y="78"/>
                        </a:cubicBezTo>
                        <a:cubicBezTo>
                          <a:pt x="238" y="78"/>
                          <a:pt x="238" y="79"/>
                          <a:pt x="238" y="80"/>
                        </a:cubicBezTo>
                        <a:cubicBezTo>
                          <a:pt x="239" y="80"/>
                          <a:pt x="240" y="79"/>
                          <a:pt x="240" y="78"/>
                        </a:cubicBezTo>
                        <a:cubicBezTo>
                          <a:pt x="241" y="78"/>
                          <a:pt x="243" y="77"/>
                          <a:pt x="244" y="77"/>
                        </a:cubicBezTo>
                        <a:cubicBezTo>
                          <a:pt x="245" y="78"/>
                          <a:pt x="243" y="80"/>
                          <a:pt x="246" y="81"/>
                        </a:cubicBezTo>
                        <a:cubicBezTo>
                          <a:pt x="245" y="81"/>
                          <a:pt x="246" y="82"/>
                          <a:pt x="246" y="82"/>
                        </a:cubicBezTo>
                        <a:cubicBezTo>
                          <a:pt x="247" y="82"/>
                          <a:pt x="248" y="81"/>
                          <a:pt x="250" y="81"/>
                        </a:cubicBezTo>
                        <a:cubicBezTo>
                          <a:pt x="252" y="82"/>
                          <a:pt x="253" y="83"/>
                          <a:pt x="256" y="82"/>
                        </a:cubicBezTo>
                        <a:cubicBezTo>
                          <a:pt x="256" y="82"/>
                          <a:pt x="256" y="81"/>
                          <a:pt x="256" y="80"/>
                        </a:cubicBezTo>
                        <a:cubicBezTo>
                          <a:pt x="258" y="80"/>
                          <a:pt x="255" y="74"/>
                          <a:pt x="255" y="73"/>
                        </a:cubicBezTo>
                        <a:cubicBezTo>
                          <a:pt x="257" y="73"/>
                          <a:pt x="258" y="75"/>
                          <a:pt x="260" y="74"/>
                        </a:cubicBezTo>
                        <a:cubicBezTo>
                          <a:pt x="259" y="78"/>
                          <a:pt x="262" y="77"/>
                          <a:pt x="264" y="77"/>
                        </a:cubicBezTo>
                        <a:cubicBezTo>
                          <a:pt x="265" y="79"/>
                          <a:pt x="254" y="87"/>
                          <a:pt x="261" y="88"/>
                        </a:cubicBezTo>
                        <a:cubicBezTo>
                          <a:pt x="262" y="86"/>
                          <a:pt x="260" y="85"/>
                          <a:pt x="262" y="84"/>
                        </a:cubicBezTo>
                        <a:cubicBezTo>
                          <a:pt x="263" y="83"/>
                          <a:pt x="265" y="84"/>
                          <a:pt x="267" y="84"/>
                        </a:cubicBezTo>
                        <a:cubicBezTo>
                          <a:pt x="267" y="80"/>
                          <a:pt x="270" y="81"/>
                          <a:pt x="270" y="84"/>
                        </a:cubicBezTo>
                        <a:cubicBezTo>
                          <a:pt x="274" y="84"/>
                          <a:pt x="278" y="84"/>
                          <a:pt x="282" y="84"/>
                        </a:cubicBezTo>
                        <a:cubicBezTo>
                          <a:pt x="282" y="83"/>
                          <a:pt x="281" y="76"/>
                          <a:pt x="284" y="78"/>
                        </a:cubicBezTo>
                        <a:cubicBezTo>
                          <a:pt x="286" y="79"/>
                          <a:pt x="292" y="76"/>
                          <a:pt x="290" y="73"/>
                        </a:cubicBezTo>
                        <a:cubicBezTo>
                          <a:pt x="292" y="73"/>
                          <a:pt x="294" y="73"/>
                          <a:pt x="295" y="74"/>
                        </a:cubicBezTo>
                        <a:cubicBezTo>
                          <a:pt x="295" y="72"/>
                          <a:pt x="300" y="71"/>
                          <a:pt x="301" y="71"/>
                        </a:cubicBezTo>
                        <a:cubicBezTo>
                          <a:pt x="301" y="73"/>
                          <a:pt x="301" y="75"/>
                          <a:pt x="303" y="76"/>
                        </a:cubicBezTo>
                        <a:cubicBezTo>
                          <a:pt x="304" y="77"/>
                          <a:pt x="306" y="79"/>
                          <a:pt x="308" y="80"/>
                        </a:cubicBezTo>
                        <a:cubicBezTo>
                          <a:pt x="308" y="84"/>
                          <a:pt x="303" y="83"/>
                          <a:pt x="304" y="86"/>
                        </a:cubicBezTo>
                        <a:cubicBezTo>
                          <a:pt x="305" y="87"/>
                          <a:pt x="305" y="87"/>
                          <a:pt x="305" y="87"/>
                        </a:cubicBezTo>
                        <a:cubicBezTo>
                          <a:pt x="304" y="88"/>
                          <a:pt x="304" y="88"/>
                          <a:pt x="304" y="88"/>
                        </a:cubicBezTo>
                        <a:cubicBezTo>
                          <a:pt x="303" y="88"/>
                          <a:pt x="303" y="88"/>
                          <a:pt x="303" y="89"/>
                        </a:cubicBezTo>
                        <a:cubicBezTo>
                          <a:pt x="302" y="89"/>
                          <a:pt x="301" y="90"/>
                          <a:pt x="301" y="91"/>
                        </a:cubicBezTo>
                        <a:cubicBezTo>
                          <a:pt x="302" y="91"/>
                          <a:pt x="303" y="91"/>
                          <a:pt x="304" y="90"/>
                        </a:cubicBezTo>
                        <a:cubicBezTo>
                          <a:pt x="304" y="89"/>
                          <a:pt x="306" y="87"/>
                          <a:pt x="308" y="88"/>
                        </a:cubicBezTo>
                        <a:cubicBezTo>
                          <a:pt x="309" y="89"/>
                          <a:pt x="309" y="91"/>
                          <a:pt x="309" y="92"/>
                        </a:cubicBezTo>
                        <a:cubicBezTo>
                          <a:pt x="312" y="93"/>
                          <a:pt x="311" y="88"/>
                          <a:pt x="311" y="87"/>
                        </a:cubicBezTo>
                        <a:cubicBezTo>
                          <a:pt x="312" y="86"/>
                          <a:pt x="313" y="86"/>
                          <a:pt x="314" y="87"/>
                        </a:cubicBezTo>
                        <a:cubicBezTo>
                          <a:pt x="314" y="86"/>
                          <a:pt x="315" y="86"/>
                          <a:pt x="315" y="85"/>
                        </a:cubicBezTo>
                        <a:cubicBezTo>
                          <a:pt x="317" y="85"/>
                          <a:pt x="316" y="86"/>
                          <a:pt x="317" y="87"/>
                        </a:cubicBezTo>
                        <a:cubicBezTo>
                          <a:pt x="318" y="89"/>
                          <a:pt x="321" y="88"/>
                          <a:pt x="322" y="88"/>
                        </a:cubicBezTo>
                        <a:cubicBezTo>
                          <a:pt x="322" y="87"/>
                          <a:pt x="322" y="87"/>
                          <a:pt x="322" y="87"/>
                        </a:cubicBezTo>
                        <a:cubicBezTo>
                          <a:pt x="321" y="87"/>
                          <a:pt x="321" y="86"/>
                          <a:pt x="321" y="85"/>
                        </a:cubicBezTo>
                        <a:cubicBezTo>
                          <a:pt x="322" y="85"/>
                          <a:pt x="324" y="85"/>
                          <a:pt x="325" y="85"/>
                        </a:cubicBezTo>
                        <a:cubicBezTo>
                          <a:pt x="325" y="86"/>
                          <a:pt x="325" y="87"/>
                          <a:pt x="325" y="87"/>
                        </a:cubicBezTo>
                        <a:cubicBezTo>
                          <a:pt x="326" y="86"/>
                          <a:pt x="326" y="85"/>
                          <a:pt x="326" y="85"/>
                        </a:cubicBezTo>
                        <a:cubicBezTo>
                          <a:pt x="327" y="85"/>
                          <a:pt x="328" y="85"/>
                          <a:pt x="329" y="85"/>
                        </a:cubicBezTo>
                        <a:cubicBezTo>
                          <a:pt x="329" y="85"/>
                          <a:pt x="329" y="86"/>
                          <a:pt x="328" y="86"/>
                        </a:cubicBezTo>
                        <a:cubicBezTo>
                          <a:pt x="327" y="87"/>
                          <a:pt x="327" y="88"/>
                          <a:pt x="327" y="90"/>
                        </a:cubicBezTo>
                        <a:cubicBezTo>
                          <a:pt x="327" y="92"/>
                          <a:pt x="326" y="94"/>
                          <a:pt x="325" y="96"/>
                        </a:cubicBezTo>
                        <a:cubicBezTo>
                          <a:pt x="328" y="97"/>
                          <a:pt x="329" y="94"/>
                          <a:pt x="331" y="94"/>
                        </a:cubicBezTo>
                        <a:cubicBezTo>
                          <a:pt x="331" y="96"/>
                          <a:pt x="341" y="95"/>
                          <a:pt x="343" y="95"/>
                        </a:cubicBezTo>
                        <a:cubicBezTo>
                          <a:pt x="341" y="91"/>
                          <a:pt x="347" y="89"/>
                          <a:pt x="345" y="86"/>
                        </a:cubicBezTo>
                        <a:cubicBezTo>
                          <a:pt x="345" y="85"/>
                          <a:pt x="346" y="85"/>
                          <a:pt x="347" y="85"/>
                        </a:cubicBezTo>
                        <a:cubicBezTo>
                          <a:pt x="347" y="86"/>
                          <a:pt x="347" y="87"/>
                          <a:pt x="348" y="87"/>
                        </a:cubicBezTo>
                        <a:cubicBezTo>
                          <a:pt x="348" y="86"/>
                          <a:pt x="350" y="84"/>
                          <a:pt x="352" y="85"/>
                        </a:cubicBezTo>
                        <a:cubicBezTo>
                          <a:pt x="352" y="85"/>
                          <a:pt x="352" y="86"/>
                          <a:pt x="352" y="86"/>
                        </a:cubicBezTo>
                        <a:cubicBezTo>
                          <a:pt x="353" y="87"/>
                          <a:pt x="354" y="88"/>
                          <a:pt x="356" y="88"/>
                        </a:cubicBezTo>
                        <a:cubicBezTo>
                          <a:pt x="355" y="86"/>
                          <a:pt x="357" y="85"/>
                          <a:pt x="357" y="83"/>
                        </a:cubicBezTo>
                        <a:cubicBezTo>
                          <a:pt x="358" y="83"/>
                          <a:pt x="360" y="82"/>
                          <a:pt x="362" y="83"/>
                        </a:cubicBezTo>
                        <a:cubicBezTo>
                          <a:pt x="364" y="85"/>
                          <a:pt x="361" y="88"/>
                          <a:pt x="362" y="90"/>
                        </a:cubicBezTo>
                        <a:cubicBezTo>
                          <a:pt x="363" y="90"/>
                          <a:pt x="367" y="89"/>
                          <a:pt x="367" y="91"/>
                        </a:cubicBezTo>
                        <a:cubicBezTo>
                          <a:pt x="368" y="95"/>
                          <a:pt x="373" y="93"/>
                          <a:pt x="376" y="94"/>
                        </a:cubicBezTo>
                        <a:cubicBezTo>
                          <a:pt x="376" y="96"/>
                          <a:pt x="375" y="99"/>
                          <a:pt x="376" y="101"/>
                        </a:cubicBezTo>
                        <a:cubicBezTo>
                          <a:pt x="378" y="103"/>
                          <a:pt x="382" y="101"/>
                          <a:pt x="385" y="102"/>
                        </a:cubicBezTo>
                        <a:cubicBezTo>
                          <a:pt x="385" y="102"/>
                          <a:pt x="385" y="103"/>
                          <a:pt x="385" y="104"/>
                        </a:cubicBezTo>
                        <a:cubicBezTo>
                          <a:pt x="386" y="104"/>
                          <a:pt x="388" y="104"/>
                          <a:pt x="390" y="104"/>
                        </a:cubicBezTo>
                        <a:cubicBezTo>
                          <a:pt x="390" y="106"/>
                          <a:pt x="390" y="108"/>
                          <a:pt x="390" y="109"/>
                        </a:cubicBezTo>
                        <a:cubicBezTo>
                          <a:pt x="391" y="109"/>
                          <a:pt x="392" y="109"/>
                          <a:pt x="393" y="109"/>
                        </a:cubicBezTo>
                        <a:cubicBezTo>
                          <a:pt x="393" y="110"/>
                          <a:pt x="393" y="111"/>
                          <a:pt x="393" y="112"/>
                        </a:cubicBezTo>
                        <a:cubicBezTo>
                          <a:pt x="395" y="112"/>
                          <a:pt x="395" y="114"/>
                          <a:pt x="397" y="114"/>
                        </a:cubicBezTo>
                        <a:cubicBezTo>
                          <a:pt x="397" y="112"/>
                          <a:pt x="396" y="111"/>
                          <a:pt x="397" y="110"/>
                        </a:cubicBezTo>
                        <a:cubicBezTo>
                          <a:pt x="400" y="110"/>
                          <a:pt x="407" y="111"/>
                          <a:pt x="409" y="109"/>
                        </a:cubicBezTo>
                        <a:cubicBezTo>
                          <a:pt x="410" y="108"/>
                          <a:pt x="412" y="109"/>
                          <a:pt x="413" y="110"/>
                        </a:cubicBezTo>
                        <a:cubicBezTo>
                          <a:pt x="413" y="110"/>
                          <a:pt x="413" y="111"/>
                          <a:pt x="413" y="112"/>
                        </a:cubicBezTo>
                        <a:cubicBezTo>
                          <a:pt x="414" y="113"/>
                          <a:pt x="415" y="112"/>
                          <a:pt x="416" y="113"/>
                        </a:cubicBezTo>
                        <a:cubicBezTo>
                          <a:pt x="419" y="116"/>
                          <a:pt x="414" y="118"/>
                          <a:pt x="412" y="116"/>
                        </a:cubicBezTo>
                        <a:cubicBezTo>
                          <a:pt x="411" y="118"/>
                          <a:pt x="411" y="119"/>
                          <a:pt x="411" y="120"/>
                        </a:cubicBezTo>
                        <a:cubicBezTo>
                          <a:pt x="412" y="120"/>
                          <a:pt x="412" y="120"/>
                          <a:pt x="413" y="120"/>
                        </a:cubicBezTo>
                        <a:cubicBezTo>
                          <a:pt x="413" y="122"/>
                          <a:pt x="413" y="123"/>
                          <a:pt x="413" y="124"/>
                        </a:cubicBezTo>
                        <a:cubicBezTo>
                          <a:pt x="416" y="124"/>
                          <a:pt x="416" y="127"/>
                          <a:pt x="415" y="129"/>
                        </a:cubicBezTo>
                        <a:cubicBezTo>
                          <a:pt x="414" y="132"/>
                          <a:pt x="412" y="133"/>
                          <a:pt x="412" y="136"/>
                        </a:cubicBezTo>
                        <a:cubicBezTo>
                          <a:pt x="411" y="136"/>
                          <a:pt x="411" y="136"/>
                          <a:pt x="410" y="136"/>
                        </a:cubicBezTo>
                        <a:cubicBezTo>
                          <a:pt x="410" y="136"/>
                          <a:pt x="410" y="137"/>
                          <a:pt x="410" y="138"/>
                        </a:cubicBezTo>
                        <a:cubicBezTo>
                          <a:pt x="411" y="138"/>
                          <a:pt x="413" y="139"/>
                          <a:pt x="413" y="140"/>
                        </a:cubicBezTo>
                        <a:cubicBezTo>
                          <a:pt x="414" y="142"/>
                          <a:pt x="413" y="144"/>
                          <a:pt x="415" y="143"/>
                        </a:cubicBezTo>
                        <a:lnTo>
                          <a:pt x="415" y="144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4" name="Rectangle 336">
                    <a:extLst>
                      <a:ext uri="{FF2B5EF4-FFF2-40B4-BE49-F238E27FC236}">
                        <a16:creationId xmlns:a16="http://schemas.microsoft.com/office/drawing/2014/main" xmlns="" id="{FC79AE7B-1E36-4261-A0BD-0491C6D40C9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830638" y="2333626"/>
                    <a:ext cx="1588" cy="1588"/>
                  </a:xfrm>
                  <a:prstGeom prst="rect">
                    <a:avLst/>
                  </a:pr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5" name="Freeform 337">
                    <a:extLst>
                      <a:ext uri="{FF2B5EF4-FFF2-40B4-BE49-F238E27FC236}">
                        <a16:creationId xmlns:a16="http://schemas.microsoft.com/office/drawing/2014/main" xmlns="" id="{236D0A5D-EBF6-483C-8144-E687ED8376E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79826" y="2212976"/>
                    <a:ext cx="3175" cy="0"/>
                  </a:xfrm>
                  <a:custGeom>
                    <a:avLst/>
                    <a:gdLst>
                      <a:gd name="T0" fmla="*/ 2 w 2"/>
                      <a:gd name="T1" fmla="*/ 0 w 2"/>
                      <a:gd name="T2" fmla="*/ 2 w 2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2">
                        <a:moveTo>
                          <a:pt x="2" y="0"/>
                        </a:moveTo>
                        <a:lnTo>
                          <a:pt x="0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6" name="Freeform 338">
                    <a:extLst>
                      <a:ext uri="{FF2B5EF4-FFF2-40B4-BE49-F238E27FC236}">
                        <a16:creationId xmlns:a16="http://schemas.microsoft.com/office/drawing/2014/main" xmlns="" id="{9D9E6935-FC47-4C86-B3EE-08603A6576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75063" y="2209801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7" name="Freeform 339">
                    <a:extLst>
                      <a:ext uri="{FF2B5EF4-FFF2-40B4-BE49-F238E27FC236}">
                        <a16:creationId xmlns:a16="http://schemas.microsoft.com/office/drawing/2014/main" xmlns="" id="{788297D0-9580-4209-A1BF-F2316B729D8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57601" y="2163763"/>
                    <a:ext cx="3175" cy="0"/>
                  </a:xfrm>
                  <a:custGeom>
                    <a:avLst/>
                    <a:gdLst>
                      <a:gd name="T0" fmla="*/ 2 w 2"/>
                      <a:gd name="T1" fmla="*/ 0 w 2"/>
                      <a:gd name="T2" fmla="*/ 2 w 2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2">
                        <a:moveTo>
                          <a:pt x="2" y="0"/>
                        </a:moveTo>
                        <a:lnTo>
                          <a:pt x="0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8" name="Freeform 340">
                    <a:extLst>
                      <a:ext uri="{FF2B5EF4-FFF2-40B4-BE49-F238E27FC236}">
                        <a16:creationId xmlns:a16="http://schemas.microsoft.com/office/drawing/2014/main" xmlns="" id="{4902B3BE-9CE8-45A4-9D2A-30D5ABC6A8F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75388" y="3117851"/>
                    <a:ext cx="279400" cy="307975"/>
                  </a:xfrm>
                  <a:custGeom>
                    <a:avLst/>
                    <a:gdLst>
                      <a:gd name="T0" fmla="*/ 72 w 79"/>
                      <a:gd name="T1" fmla="*/ 17 h 87"/>
                      <a:gd name="T2" fmla="*/ 74 w 79"/>
                      <a:gd name="T3" fmla="*/ 11 h 87"/>
                      <a:gd name="T4" fmla="*/ 69 w 79"/>
                      <a:gd name="T5" fmla="*/ 1 h 87"/>
                      <a:gd name="T6" fmla="*/ 64 w 79"/>
                      <a:gd name="T7" fmla="*/ 4 h 87"/>
                      <a:gd name="T8" fmla="*/ 63 w 79"/>
                      <a:gd name="T9" fmla="*/ 8 h 87"/>
                      <a:gd name="T10" fmla="*/ 54 w 79"/>
                      <a:gd name="T11" fmla="*/ 9 h 87"/>
                      <a:gd name="T12" fmla="*/ 50 w 79"/>
                      <a:gd name="T13" fmla="*/ 9 h 87"/>
                      <a:gd name="T14" fmla="*/ 46 w 79"/>
                      <a:gd name="T15" fmla="*/ 9 h 87"/>
                      <a:gd name="T16" fmla="*/ 37 w 79"/>
                      <a:gd name="T17" fmla="*/ 10 h 87"/>
                      <a:gd name="T18" fmla="*/ 34 w 79"/>
                      <a:gd name="T19" fmla="*/ 16 h 87"/>
                      <a:gd name="T20" fmla="*/ 28 w 79"/>
                      <a:gd name="T21" fmla="*/ 24 h 87"/>
                      <a:gd name="T22" fmla="*/ 20 w 79"/>
                      <a:gd name="T23" fmla="*/ 21 h 87"/>
                      <a:gd name="T24" fmla="*/ 17 w 79"/>
                      <a:gd name="T25" fmla="*/ 23 h 87"/>
                      <a:gd name="T26" fmla="*/ 14 w 79"/>
                      <a:gd name="T27" fmla="*/ 30 h 87"/>
                      <a:gd name="T28" fmla="*/ 10 w 79"/>
                      <a:gd name="T29" fmla="*/ 34 h 87"/>
                      <a:gd name="T30" fmla="*/ 9 w 79"/>
                      <a:gd name="T31" fmla="*/ 45 h 87"/>
                      <a:gd name="T32" fmla="*/ 4 w 79"/>
                      <a:gd name="T33" fmla="*/ 55 h 87"/>
                      <a:gd name="T34" fmla="*/ 2 w 79"/>
                      <a:gd name="T35" fmla="*/ 62 h 87"/>
                      <a:gd name="T36" fmla="*/ 2 w 79"/>
                      <a:gd name="T37" fmla="*/ 69 h 87"/>
                      <a:gd name="T38" fmla="*/ 0 w 79"/>
                      <a:gd name="T39" fmla="*/ 75 h 87"/>
                      <a:gd name="T40" fmla="*/ 9 w 79"/>
                      <a:gd name="T41" fmla="*/ 77 h 87"/>
                      <a:gd name="T42" fmla="*/ 18 w 79"/>
                      <a:gd name="T43" fmla="*/ 77 h 87"/>
                      <a:gd name="T44" fmla="*/ 22 w 79"/>
                      <a:gd name="T45" fmla="*/ 79 h 87"/>
                      <a:gd name="T46" fmla="*/ 28 w 79"/>
                      <a:gd name="T47" fmla="*/ 78 h 87"/>
                      <a:gd name="T48" fmla="*/ 39 w 79"/>
                      <a:gd name="T49" fmla="*/ 83 h 87"/>
                      <a:gd name="T50" fmla="*/ 52 w 79"/>
                      <a:gd name="T51" fmla="*/ 86 h 87"/>
                      <a:gd name="T52" fmla="*/ 60 w 79"/>
                      <a:gd name="T53" fmla="*/ 68 h 87"/>
                      <a:gd name="T54" fmla="*/ 63 w 79"/>
                      <a:gd name="T55" fmla="*/ 61 h 87"/>
                      <a:gd name="T56" fmla="*/ 64 w 79"/>
                      <a:gd name="T57" fmla="*/ 58 h 87"/>
                      <a:gd name="T58" fmla="*/ 67 w 79"/>
                      <a:gd name="T59" fmla="*/ 52 h 87"/>
                      <a:gd name="T60" fmla="*/ 70 w 79"/>
                      <a:gd name="T61" fmla="*/ 46 h 87"/>
                      <a:gd name="T62" fmla="*/ 73 w 79"/>
                      <a:gd name="T63" fmla="*/ 41 h 87"/>
                      <a:gd name="T64" fmla="*/ 78 w 79"/>
                      <a:gd name="T65" fmla="*/ 32 h 87"/>
                      <a:gd name="T66" fmla="*/ 79 w 79"/>
                      <a:gd name="T67" fmla="*/ 26 h 87"/>
                      <a:gd name="T68" fmla="*/ 72 w 79"/>
                      <a:gd name="T69" fmla="*/ 23 h 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</a:cxnLst>
                    <a:rect l="0" t="0" r="r" b="b"/>
                    <a:pathLst>
                      <a:path w="79" h="87">
                        <a:moveTo>
                          <a:pt x="72" y="23"/>
                        </a:moveTo>
                        <a:cubicBezTo>
                          <a:pt x="72" y="21"/>
                          <a:pt x="72" y="19"/>
                          <a:pt x="72" y="17"/>
                        </a:cubicBezTo>
                        <a:cubicBezTo>
                          <a:pt x="73" y="16"/>
                          <a:pt x="74" y="16"/>
                          <a:pt x="74" y="15"/>
                        </a:cubicBezTo>
                        <a:cubicBezTo>
                          <a:pt x="74" y="15"/>
                          <a:pt x="74" y="12"/>
                          <a:pt x="74" y="11"/>
                        </a:cubicBezTo>
                        <a:cubicBezTo>
                          <a:pt x="73" y="10"/>
                          <a:pt x="71" y="9"/>
                          <a:pt x="69" y="9"/>
                        </a:cubicBezTo>
                        <a:cubicBezTo>
                          <a:pt x="69" y="7"/>
                          <a:pt x="69" y="4"/>
                          <a:pt x="69" y="1"/>
                        </a:cubicBezTo>
                        <a:cubicBezTo>
                          <a:pt x="68" y="1"/>
                          <a:pt x="68" y="1"/>
                          <a:pt x="68" y="0"/>
                        </a:cubicBezTo>
                        <a:cubicBezTo>
                          <a:pt x="67" y="0"/>
                          <a:pt x="65" y="4"/>
                          <a:pt x="64" y="4"/>
                        </a:cubicBezTo>
                        <a:cubicBezTo>
                          <a:pt x="64" y="5"/>
                          <a:pt x="64" y="5"/>
                          <a:pt x="63" y="6"/>
                        </a:cubicBezTo>
                        <a:cubicBezTo>
                          <a:pt x="63" y="6"/>
                          <a:pt x="63" y="7"/>
                          <a:pt x="63" y="8"/>
                        </a:cubicBezTo>
                        <a:cubicBezTo>
                          <a:pt x="62" y="9"/>
                          <a:pt x="60" y="8"/>
                          <a:pt x="59" y="8"/>
                        </a:cubicBezTo>
                        <a:cubicBezTo>
                          <a:pt x="57" y="8"/>
                          <a:pt x="56" y="9"/>
                          <a:pt x="54" y="9"/>
                        </a:cubicBezTo>
                        <a:cubicBezTo>
                          <a:pt x="53" y="10"/>
                          <a:pt x="53" y="10"/>
                          <a:pt x="52" y="10"/>
                        </a:cubicBezTo>
                        <a:cubicBezTo>
                          <a:pt x="51" y="10"/>
                          <a:pt x="52" y="9"/>
                          <a:pt x="50" y="9"/>
                        </a:cubicBezTo>
                        <a:cubicBezTo>
                          <a:pt x="50" y="9"/>
                          <a:pt x="49" y="10"/>
                          <a:pt x="49" y="10"/>
                        </a:cubicBezTo>
                        <a:cubicBezTo>
                          <a:pt x="48" y="10"/>
                          <a:pt x="47" y="10"/>
                          <a:pt x="46" y="9"/>
                        </a:cubicBezTo>
                        <a:cubicBezTo>
                          <a:pt x="45" y="9"/>
                          <a:pt x="43" y="9"/>
                          <a:pt x="42" y="9"/>
                        </a:cubicBezTo>
                        <a:cubicBezTo>
                          <a:pt x="40" y="9"/>
                          <a:pt x="39" y="9"/>
                          <a:pt x="37" y="10"/>
                        </a:cubicBezTo>
                        <a:cubicBezTo>
                          <a:pt x="35" y="10"/>
                          <a:pt x="33" y="10"/>
                          <a:pt x="32" y="12"/>
                        </a:cubicBezTo>
                        <a:cubicBezTo>
                          <a:pt x="34" y="12"/>
                          <a:pt x="35" y="14"/>
                          <a:pt x="34" y="16"/>
                        </a:cubicBezTo>
                        <a:cubicBezTo>
                          <a:pt x="33" y="17"/>
                          <a:pt x="32" y="17"/>
                          <a:pt x="31" y="18"/>
                        </a:cubicBezTo>
                        <a:cubicBezTo>
                          <a:pt x="29" y="20"/>
                          <a:pt x="29" y="22"/>
                          <a:pt x="28" y="24"/>
                        </a:cubicBezTo>
                        <a:cubicBezTo>
                          <a:pt x="26" y="24"/>
                          <a:pt x="25" y="23"/>
                          <a:pt x="23" y="22"/>
                        </a:cubicBezTo>
                        <a:cubicBezTo>
                          <a:pt x="22" y="21"/>
                          <a:pt x="21" y="21"/>
                          <a:pt x="20" y="21"/>
                        </a:cubicBezTo>
                        <a:cubicBezTo>
                          <a:pt x="20" y="22"/>
                          <a:pt x="20" y="22"/>
                          <a:pt x="20" y="22"/>
                        </a:cubicBezTo>
                        <a:cubicBezTo>
                          <a:pt x="18" y="22"/>
                          <a:pt x="18" y="22"/>
                          <a:pt x="17" y="23"/>
                        </a:cubicBezTo>
                        <a:cubicBezTo>
                          <a:pt x="16" y="24"/>
                          <a:pt x="15" y="25"/>
                          <a:pt x="14" y="26"/>
                        </a:cubicBezTo>
                        <a:cubicBezTo>
                          <a:pt x="14" y="27"/>
                          <a:pt x="14" y="29"/>
                          <a:pt x="14" y="30"/>
                        </a:cubicBezTo>
                        <a:cubicBezTo>
                          <a:pt x="14" y="31"/>
                          <a:pt x="13" y="32"/>
                          <a:pt x="12" y="33"/>
                        </a:cubicBezTo>
                        <a:cubicBezTo>
                          <a:pt x="12" y="33"/>
                          <a:pt x="11" y="33"/>
                          <a:pt x="10" y="34"/>
                        </a:cubicBezTo>
                        <a:cubicBezTo>
                          <a:pt x="11" y="36"/>
                          <a:pt x="11" y="37"/>
                          <a:pt x="10" y="39"/>
                        </a:cubicBezTo>
                        <a:cubicBezTo>
                          <a:pt x="10" y="41"/>
                          <a:pt x="10" y="43"/>
                          <a:pt x="9" y="45"/>
                        </a:cubicBezTo>
                        <a:cubicBezTo>
                          <a:pt x="8" y="45"/>
                          <a:pt x="6" y="44"/>
                          <a:pt x="4" y="44"/>
                        </a:cubicBezTo>
                        <a:cubicBezTo>
                          <a:pt x="4" y="48"/>
                          <a:pt x="4" y="51"/>
                          <a:pt x="4" y="55"/>
                        </a:cubicBezTo>
                        <a:cubicBezTo>
                          <a:pt x="4" y="57"/>
                          <a:pt x="3" y="58"/>
                          <a:pt x="2" y="60"/>
                        </a:cubicBezTo>
                        <a:cubicBezTo>
                          <a:pt x="2" y="61"/>
                          <a:pt x="2" y="61"/>
                          <a:pt x="2" y="62"/>
                        </a:cubicBezTo>
                        <a:cubicBezTo>
                          <a:pt x="2" y="63"/>
                          <a:pt x="2" y="63"/>
                          <a:pt x="2" y="63"/>
                        </a:cubicBezTo>
                        <a:cubicBezTo>
                          <a:pt x="3" y="65"/>
                          <a:pt x="2" y="67"/>
                          <a:pt x="2" y="69"/>
                        </a:cubicBezTo>
                        <a:cubicBezTo>
                          <a:pt x="2" y="70"/>
                          <a:pt x="3" y="72"/>
                          <a:pt x="2" y="72"/>
                        </a:cubicBezTo>
                        <a:cubicBezTo>
                          <a:pt x="1" y="74"/>
                          <a:pt x="0" y="74"/>
                          <a:pt x="0" y="75"/>
                        </a:cubicBezTo>
                        <a:cubicBezTo>
                          <a:pt x="3" y="76"/>
                          <a:pt x="4" y="76"/>
                          <a:pt x="7" y="76"/>
                        </a:cubicBezTo>
                        <a:cubicBezTo>
                          <a:pt x="8" y="77"/>
                          <a:pt x="8" y="77"/>
                          <a:pt x="9" y="77"/>
                        </a:cubicBezTo>
                        <a:cubicBezTo>
                          <a:pt x="10" y="78"/>
                          <a:pt x="12" y="78"/>
                          <a:pt x="13" y="78"/>
                        </a:cubicBezTo>
                        <a:cubicBezTo>
                          <a:pt x="14" y="78"/>
                          <a:pt x="16" y="77"/>
                          <a:pt x="18" y="77"/>
                        </a:cubicBezTo>
                        <a:cubicBezTo>
                          <a:pt x="18" y="77"/>
                          <a:pt x="18" y="76"/>
                          <a:pt x="19" y="76"/>
                        </a:cubicBezTo>
                        <a:cubicBezTo>
                          <a:pt x="20" y="76"/>
                          <a:pt x="22" y="78"/>
                          <a:pt x="22" y="79"/>
                        </a:cubicBezTo>
                        <a:cubicBezTo>
                          <a:pt x="23" y="80"/>
                          <a:pt x="25" y="82"/>
                          <a:pt x="26" y="82"/>
                        </a:cubicBezTo>
                        <a:cubicBezTo>
                          <a:pt x="29" y="82"/>
                          <a:pt x="28" y="80"/>
                          <a:pt x="28" y="78"/>
                        </a:cubicBezTo>
                        <a:cubicBezTo>
                          <a:pt x="30" y="78"/>
                          <a:pt x="34" y="77"/>
                          <a:pt x="35" y="78"/>
                        </a:cubicBezTo>
                        <a:cubicBezTo>
                          <a:pt x="37" y="79"/>
                          <a:pt x="37" y="83"/>
                          <a:pt x="39" y="83"/>
                        </a:cubicBezTo>
                        <a:cubicBezTo>
                          <a:pt x="39" y="80"/>
                          <a:pt x="44" y="80"/>
                          <a:pt x="46" y="81"/>
                        </a:cubicBezTo>
                        <a:cubicBezTo>
                          <a:pt x="49" y="82"/>
                          <a:pt x="51" y="84"/>
                          <a:pt x="52" y="86"/>
                        </a:cubicBezTo>
                        <a:cubicBezTo>
                          <a:pt x="56" y="87"/>
                          <a:pt x="58" y="74"/>
                          <a:pt x="59" y="72"/>
                        </a:cubicBezTo>
                        <a:cubicBezTo>
                          <a:pt x="59" y="71"/>
                          <a:pt x="59" y="69"/>
                          <a:pt x="60" y="68"/>
                        </a:cubicBezTo>
                        <a:cubicBezTo>
                          <a:pt x="60" y="67"/>
                          <a:pt x="61" y="66"/>
                          <a:pt x="62" y="65"/>
                        </a:cubicBezTo>
                        <a:cubicBezTo>
                          <a:pt x="62" y="64"/>
                          <a:pt x="62" y="63"/>
                          <a:pt x="63" y="61"/>
                        </a:cubicBezTo>
                        <a:cubicBezTo>
                          <a:pt x="63" y="61"/>
                          <a:pt x="64" y="61"/>
                          <a:pt x="64" y="60"/>
                        </a:cubicBezTo>
                        <a:cubicBezTo>
                          <a:pt x="64" y="59"/>
                          <a:pt x="64" y="59"/>
                          <a:pt x="64" y="58"/>
                        </a:cubicBezTo>
                        <a:cubicBezTo>
                          <a:pt x="64" y="56"/>
                          <a:pt x="65" y="56"/>
                          <a:pt x="65" y="55"/>
                        </a:cubicBezTo>
                        <a:cubicBezTo>
                          <a:pt x="66" y="53"/>
                          <a:pt x="65" y="53"/>
                          <a:pt x="67" y="52"/>
                        </a:cubicBezTo>
                        <a:cubicBezTo>
                          <a:pt x="68" y="52"/>
                          <a:pt x="70" y="52"/>
                          <a:pt x="70" y="50"/>
                        </a:cubicBezTo>
                        <a:cubicBezTo>
                          <a:pt x="71" y="49"/>
                          <a:pt x="70" y="47"/>
                          <a:pt x="70" y="46"/>
                        </a:cubicBezTo>
                        <a:cubicBezTo>
                          <a:pt x="72" y="46"/>
                          <a:pt x="73" y="45"/>
                          <a:pt x="73" y="44"/>
                        </a:cubicBezTo>
                        <a:cubicBezTo>
                          <a:pt x="73" y="43"/>
                          <a:pt x="73" y="42"/>
                          <a:pt x="73" y="41"/>
                        </a:cubicBezTo>
                        <a:cubicBezTo>
                          <a:pt x="74" y="39"/>
                          <a:pt x="76" y="39"/>
                          <a:pt x="77" y="37"/>
                        </a:cubicBezTo>
                        <a:cubicBezTo>
                          <a:pt x="78" y="36"/>
                          <a:pt x="77" y="34"/>
                          <a:pt x="78" y="32"/>
                        </a:cubicBezTo>
                        <a:cubicBezTo>
                          <a:pt x="79" y="31"/>
                          <a:pt x="79" y="30"/>
                          <a:pt x="79" y="30"/>
                        </a:cubicBezTo>
                        <a:cubicBezTo>
                          <a:pt x="79" y="29"/>
                          <a:pt x="79" y="28"/>
                          <a:pt x="79" y="26"/>
                        </a:cubicBezTo>
                        <a:cubicBezTo>
                          <a:pt x="77" y="26"/>
                          <a:pt x="77" y="26"/>
                          <a:pt x="75" y="25"/>
                        </a:cubicBezTo>
                        <a:cubicBezTo>
                          <a:pt x="74" y="24"/>
                          <a:pt x="73" y="23"/>
                          <a:pt x="72" y="23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9" name="Freeform 341">
                    <a:extLst>
                      <a:ext uri="{FF2B5EF4-FFF2-40B4-BE49-F238E27FC236}">
                        <a16:creationId xmlns:a16="http://schemas.microsoft.com/office/drawing/2014/main" xmlns="" id="{CEC7C14A-AE0D-4E6D-9FCD-303340B564F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57826" y="2892426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0" name="Freeform 342">
                    <a:extLst>
                      <a:ext uri="{FF2B5EF4-FFF2-40B4-BE49-F238E27FC236}">
                        <a16:creationId xmlns:a16="http://schemas.microsoft.com/office/drawing/2014/main" xmlns="" id="{872BC0E8-A53F-4996-8737-756E12BA6B4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54651" y="2895601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1" name="Freeform 343">
                    <a:extLst>
                      <a:ext uri="{FF2B5EF4-FFF2-40B4-BE49-F238E27FC236}">
                        <a16:creationId xmlns:a16="http://schemas.microsoft.com/office/drawing/2014/main" xmlns="" id="{E80056B8-4F1E-44BB-8A1B-16CA8E6F1BE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54651" y="2881313"/>
                    <a:ext cx="3175" cy="7938"/>
                  </a:xfrm>
                  <a:custGeom>
                    <a:avLst/>
                    <a:gdLst>
                      <a:gd name="T0" fmla="*/ 1 w 1"/>
                      <a:gd name="T1" fmla="*/ 2 h 2"/>
                      <a:gd name="T2" fmla="*/ 0 w 1"/>
                      <a:gd name="T3" fmla="*/ 0 h 2"/>
                      <a:gd name="T4" fmla="*/ 0 w 1"/>
                      <a:gd name="T5" fmla="*/ 0 h 2"/>
                      <a:gd name="T6" fmla="*/ 1 w 1"/>
                      <a:gd name="T7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" h="2">
                        <a:moveTo>
                          <a:pt x="1" y="2"/>
                        </a:moveTo>
                        <a:cubicBezTo>
                          <a:pt x="1" y="1"/>
                          <a:pt x="1" y="1"/>
                          <a:pt x="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" y="1"/>
                          <a:pt x="1" y="1"/>
                          <a:pt x="1" y="2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2" name="Freeform 344">
                    <a:extLst>
                      <a:ext uri="{FF2B5EF4-FFF2-40B4-BE49-F238E27FC236}">
                        <a16:creationId xmlns:a16="http://schemas.microsoft.com/office/drawing/2014/main" xmlns="" id="{F21E3D8F-A30E-4069-89BB-66FD00D5693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57826" y="2889251"/>
                    <a:ext cx="0" cy="3175"/>
                  </a:xfrm>
                  <a:custGeom>
                    <a:avLst/>
                    <a:gdLst>
                      <a:gd name="T0" fmla="*/ 0 h 2"/>
                      <a:gd name="T1" fmla="*/ 2 h 2"/>
                      <a:gd name="T2" fmla="*/ 0 h 2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2">
                        <a:moveTo>
                          <a:pt x="0" y="0"/>
                        </a:moveTo>
                        <a:lnTo>
                          <a:pt x="0" y="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3" name="Freeform 345">
                    <a:extLst>
                      <a:ext uri="{FF2B5EF4-FFF2-40B4-BE49-F238E27FC236}">
                        <a16:creationId xmlns:a16="http://schemas.microsoft.com/office/drawing/2014/main" xmlns="" id="{4D4C7B1C-47F4-43F5-9038-97A69DE3333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57826" y="2889251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4" name="Freeform 346">
                    <a:extLst>
                      <a:ext uri="{FF2B5EF4-FFF2-40B4-BE49-F238E27FC236}">
                        <a16:creationId xmlns:a16="http://schemas.microsoft.com/office/drawing/2014/main" xmlns="" id="{62833BF5-C458-49BB-8523-D3E4B4BEFCF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84826" y="2898776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5" name="Freeform 347">
                    <a:extLst>
                      <a:ext uri="{FF2B5EF4-FFF2-40B4-BE49-F238E27FC236}">
                        <a16:creationId xmlns:a16="http://schemas.microsoft.com/office/drawing/2014/main" xmlns="" id="{CA31915D-ACC2-41AA-986F-D6017F113ED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81651" y="2898776"/>
                    <a:ext cx="3175" cy="0"/>
                  </a:xfrm>
                  <a:custGeom>
                    <a:avLst/>
                    <a:gdLst>
                      <a:gd name="T0" fmla="*/ 0 w 2"/>
                      <a:gd name="T1" fmla="*/ 2 w 2"/>
                      <a:gd name="T2" fmla="*/ 0 w 2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2">
                        <a:moveTo>
                          <a:pt x="0" y="0"/>
                        </a:moveTo>
                        <a:lnTo>
                          <a:pt x="2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6" name="Freeform 348">
                    <a:extLst>
                      <a:ext uri="{FF2B5EF4-FFF2-40B4-BE49-F238E27FC236}">
                        <a16:creationId xmlns:a16="http://schemas.microsoft.com/office/drawing/2014/main" xmlns="" id="{1AF650B7-9D59-4419-9840-43FD7F09ED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81651" y="2903538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7" name="Freeform 349">
                    <a:extLst>
                      <a:ext uri="{FF2B5EF4-FFF2-40B4-BE49-F238E27FC236}">
                        <a16:creationId xmlns:a16="http://schemas.microsoft.com/office/drawing/2014/main" xmlns="" id="{1EF5A584-11E4-4E7D-8D60-650978D7DF3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81651" y="2906713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8" name="Freeform 350">
                    <a:extLst>
                      <a:ext uri="{FF2B5EF4-FFF2-40B4-BE49-F238E27FC236}">
                        <a16:creationId xmlns:a16="http://schemas.microsoft.com/office/drawing/2014/main" xmlns="" id="{6CF30692-C2F4-431F-8F3F-5193303E908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88001" y="2898776"/>
                    <a:ext cx="4763" cy="0"/>
                  </a:xfrm>
                  <a:custGeom>
                    <a:avLst/>
                    <a:gdLst>
                      <a:gd name="T0" fmla="*/ 0 w 1"/>
                      <a:gd name="T1" fmla="*/ 1 w 1"/>
                      <a:gd name="T2" fmla="*/ 0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1"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1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9" name="Freeform 351">
                    <a:extLst>
                      <a:ext uri="{FF2B5EF4-FFF2-40B4-BE49-F238E27FC236}">
                        <a16:creationId xmlns:a16="http://schemas.microsoft.com/office/drawing/2014/main" xmlns="" id="{D5E0850F-6B7D-47A5-B5E6-CB8E0734DC4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81651" y="2898776"/>
                    <a:ext cx="0" cy="4763"/>
                  </a:xfrm>
                  <a:custGeom>
                    <a:avLst/>
                    <a:gdLst>
                      <a:gd name="T0" fmla="*/ 3 h 3"/>
                      <a:gd name="T1" fmla="*/ 0 h 3"/>
                      <a:gd name="T2" fmla="*/ 3 h 3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3">
                        <a:moveTo>
                          <a:pt x="0" y="3"/>
                        </a:moveTo>
                        <a:lnTo>
                          <a:pt x="0" y="0"/>
                        </a:lnTo>
                        <a:lnTo>
                          <a:pt x="0" y="3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0" name="Freeform 352">
                    <a:extLst>
                      <a:ext uri="{FF2B5EF4-FFF2-40B4-BE49-F238E27FC236}">
                        <a16:creationId xmlns:a16="http://schemas.microsoft.com/office/drawing/2014/main" xmlns="" id="{B0EC5133-41DD-4506-A3C9-11C16D5D7F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29213" y="2898776"/>
                    <a:ext cx="636588" cy="969963"/>
                  </a:xfrm>
                  <a:custGeom>
                    <a:avLst/>
                    <a:gdLst>
                      <a:gd name="T0" fmla="*/ 162 w 180"/>
                      <a:gd name="T1" fmla="*/ 22 h 274"/>
                      <a:gd name="T2" fmla="*/ 131 w 180"/>
                      <a:gd name="T3" fmla="*/ 12 h 274"/>
                      <a:gd name="T4" fmla="*/ 114 w 180"/>
                      <a:gd name="T5" fmla="*/ 2 h 274"/>
                      <a:gd name="T6" fmla="*/ 92 w 180"/>
                      <a:gd name="T7" fmla="*/ 0 h 274"/>
                      <a:gd name="T8" fmla="*/ 102 w 180"/>
                      <a:gd name="T9" fmla="*/ 26 h 274"/>
                      <a:gd name="T10" fmla="*/ 102 w 180"/>
                      <a:gd name="T11" fmla="*/ 26 h 274"/>
                      <a:gd name="T12" fmla="*/ 102 w 180"/>
                      <a:gd name="T13" fmla="*/ 26 h 274"/>
                      <a:gd name="T14" fmla="*/ 101 w 180"/>
                      <a:gd name="T15" fmla="*/ 26 h 274"/>
                      <a:gd name="T16" fmla="*/ 101 w 180"/>
                      <a:gd name="T17" fmla="*/ 27 h 274"/>
                      <a:gd name="T18" fmla="*/ 101 w 180"/>
                      <a:gd name="T19" fmla="*/ 27 h 274"/>
                      <a:gd name="T20" fmla="*/ 101 w 180"/>
                      <a:gd name="T21" fmla="*/ 27 h 274"/>
                      <a:gd name="T22" fmla="*/ 100 w 180"/>
                      <a:gd name="T23" fmla="*/ 27 h 274"/>
                      <a:gd name="T24" fmla="*/ 100 w 180"/>
                      <a:gd name="T25" fmla="*/ 27 h 274"/>
                      <a:gd name="T26" fmla="*/ 100 w 180"/>
                      <a:gd name="T27" fmla="*/ 27 h 274"/>
                      <a:gd name="T28" fmla="*/ 100 w 180"/>
                      <a:gd name="T29" fmla="*/ 28 h 274"/>
                      <a:gd name="T30" fmla="*/ 100 w 180"/>
                      <a:gd name="T31" fmla="*/ 28 h 274"/>
                      <a:gd name="T32" fmla="*/ 99 w 180"/>
                      <a:gd name="T33" fmla="*/ 28 h 274"/>
                      <a:gd name="T34" fmla="*/ 99 w 180"/>
                      <a:gd name="T35" fmla="*/ 28 h 274"/>
                      <a:gd name="T36" fmla="*/ 99 w 180"/>
                      <a:gd name="T37" fmla="*/ 28 h 274"/>
                      <a:gd name="T38" fmla="*/ 99 w 180"/>
                      <a:gd name="T39" fmla="*/ 29 h 274"/>
                      <a:gd name="T40" fmla="*/ 93 w 180"/>
                      <a:gd name="T41" fmla="*/ 55 h 274"/>
                      <a:gd name="T42" fmla="*/ 89 w 180"/>
                      <a:gd name="T43" fmla="*/ 88 h 274"/>
                      <a:gd name="T44" fmla="*/ 91 w 180"/>
                      <a:gd name="T45" fmla="*/ 124 h 274"/>
                      <a:gd name="T46" fmla="*/ 78 w 180"/>
                      <a:gd name="T47" fmla="*/ 152 h 274"/>
                      <a:gd name="T48" fmla="*/ 64 w 180"/>
                      <a:gd name="T49" fmla="*/ 162 h 274"/>
                      <a:gd name="T50" fmla="*/ 35 w 180"/>
                      <a:gd name="T51" fmla="*/ 175 h 274"/>
                      <a:gd name="T52" fmla="*/ 2 w 180"/>
                      <a:gd name="T53" fmla="*/ 184 h 274"/>
                      <a:gd name="T54" fmla="*/ 24 w 180"/>
                      <a:gd name="T55" fmla="*/ 207 h 274"/>
                      <a:gd name="T56" fmla="*/ 37 w 180"/>
                      <a:gd name="T57" fmla="*/ 226 h 274"/>
                      <a:gd name="T58" fmla="*/ 42 w 180"/>
                      <a:gd name="T59" fmla="*/ 245 h 274"/>
                      <a:gd name="T60" fmla="*/ 74 w 180"/>
                      <a:gd name="T61" fmla="*/ 266 h 274"/>
                      <a:gd name="T62" fmla="*/ 98 w 180"/>
                      <a:gd name="T63" fmla="*/ 258 h 274"/>
                      <a:gd name="T64" fmla="*/ 110 w 180"/>
                      <a:gd name="T65" fmla="*/ 250 h 274"/>
                      <a:gd name="T66" fmla="*/ 119 w 180"/>
                      <a:gd name="T67" fmla="*/ 261 h 274"/>
                      <a:gd name="T68" fmla="*/ 139 w 180"/>
                      <a:gd name="T69" fmla="*/ 240 h 274"/>
                      <a:gd name="T70" fmla="*/ 141 w 180"/>
                      <a:gd name="T71" fmla="*/ 218 h 274"/>
                      <a:gd name="T72" fmla="*/ 136 w 180"/>
                      <a:gd name="T73" fmla="*/ 192 h 274"/>
                      <a:gd name="T74" fmla="*/ 125 w 180"/>
                      <a:gd name="T75" fmla="*/ 175 h 274"/>
                      <a:gd name="T76" fmla="*/ 127 w 180"/>
                      <a:gd name="T77" fmla="*/ 142 h 274"/>
                      <a:gd name="T78" fmla="*/ 97 w 180"/>
                      <a:gd name="T79" fmla="*/ 125 h 274"/>
                      <a:gd name="T80" fmla="*/ 111 w 180"/>
                      <a:gd name="T81" fmla="*/ 115 h 274"/>
                      <a:gd name="T82" fmla="*/ 137 w 180"/>
                      <a:gd name="T83" fmla="*/ 99 h 274"/>
                      <a:gd name="T84" fmla="*/ 120 w 180"/>
                      <a:gd name="T85" fmla="*/ 85 h 274"/>
                      <a:gd name="T86" fmla="*/ 102 w 180"/>
                      <a:gd name="T87" fmla="*/ 61 h 274"/>
                      <a:gd name="T88" fmla="*/ 111 w 180"/>
                      <a:gd name="T89" fmla="*/ 46 h 274"/>
                      <a:gd name="T90" fmla="*/ 115 w 180"/>
                      <a:gd name="T91" fmla="*/ 40 h 274"/>
                      <a:gd name="T92" fmla="*/ 117 w 180"/>
                      <a:gd name="T93" fmla="*/ 39 h 274"/>
                      <a:gd name="T94" fmla="*/ 127 w 180"/>
                      <a:gd name="T95" fmla="*/ 55 h 274"/>
                      <a:gd name="T96" fmla="*/ 139 w 180"/>
                      <a:gd name="T97" fmla="*/ 49 h 274"/>
                      <a:gd name="T98" fmla="*/ 144 w 180"/>
                      <a:gd name="T99" fmla="*/ 51 h 274"/>
                      <a:gd name="T100" fmla="*/ 144 w 180"/>
                      <a:gd name="T101" fmla="*/ 51 h 274"/>
                      <a:gd name="T102" fmla="*/ 144 w 180"/>
                      <a:gd name="T103" fmla="*/ 52 h 274"/>
                      <a:gd name="T104" fmla="*/ 144 w 180"/>
                      <a:gd name="T105" fmla="*/ 52 h 274"/>
                      <a:gd name="T106" fmla="*/ 156 w 180"/>
                      <a:gd name="T107" fmla="*/ 59 h 274"/>
                      <a:gd name="T108" fmla="*/ 172 w 180"/>
                      <a:gd name="T109" fmla="*/ 45 h 2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180" h="274">
                        <a:moveTo>
                          <a:pt x="177" y="34"/>
                        </a:moveTo>
                        <a:cubicBezTo>
                          <a:pt x="176" y="32"/>
                          <a:pt x="177" y="28"/>
                          <a:pt x="178" y="26"/>
                        </a:cubicBezTo>
                        <a:cubicBezTo>
                          <a:pt x="179" y="25"/>
                          <a:pt x="179" y="24"/>
                          <a:pt x="179" y="23"/>
                        </a:cubicBezTo>
                        <a:cubicBezTo>
                          <a:pt x="178" y="24"/>
                          <a:pt x="177" y="24"/>
                          <a:pt x="176" y="24"/>
                        </a:cubicBezTo>
                        <a:cubicBezTo>
                          <a:pt x="173" y="25"/>
                          <a:pt x="170" y="25"/>
                          <a:pt x="167" y="24"/>
                        </a:cubicBezTo>
                        <a:cubicBezTo>
                          <a:pt x="165" y="24"/>
                          <a:pt x="163" y="25"/>
                          <a:pt x="160" y="26"/>
                        </a:cubicBezTo>
                        <a:cubicBezTo>
                          <a:pt x="160" y="24"/>
                          <a:pt x="161" y="23"/>
                          <a:pt x="162" y="22"/>
                        </a:cubicBezTo>
                        <a:cubicBezTo>
                          <a:pt x="161" y="22"/>
                          <a:pt x="159" y="22"/>
                          <a:pt x="158" y="21"/>
                        </a:cubicBezTo>
                        <a:cubicBezTo>
                          <a:pt x="156" y="21"/>
                          <a:pt x="155" y="19"/>
                          <a:pt x="154" y="19"/>
                        </a:cubicBezTo>
                        <a:cubicBezTo>
                          <a:pt x="150" y="17"/>
                          <a:pt x="148" y="21"/>
                          <a:pt x="145" y="21"/>
                        </a:cubicBezTo>
                        <a:cubicBezTo>
                          <a:pt x="143" y="20"/>
                          <a:pt x="142" y="20"/>
                          <a:pt x="140" y="19"/>
                        </a:cubicBezTo>
                        <a:cubicBezTo>
                          <a:pt x="139" y="17"/>
                          <a:pt x="140" y="16"/>
                          <a:pt x="138" y="16"/>
                        </a:cubicBezTo>
                        <a:cubicBezTo>
                          <a:pt x="135" y="15"/>
                          <a:pt x="135" y="16"/>
                          <a:pt x="133" y="14"/>
                        </a:cubicBezTo>
                        <a:cubicBezTo>
                          <a:pt x="133" y="14"/>
                          <a:pt x="131" y="13"/>
                          <a:pt x="131" y="12"/>
                        </a:cubicBezTo>
                        <a:cubicBezTo>
                          <a:pt x="130" y="11"/>
                          <a:pt x="130" y="9"/>
                          <a:pt x="129" y="8"/>
                        </a:cubicBezTo>
                        <a:cubicBezTo>
                          <a:pt x="127" y="5"/>
                          <a:pt x="127" y="7"/>
                          <a:pt x="128" y="4"/>
                        </a:cubicBezTo>
                        <a:cubicBezTo>
                          <a:pt x="128" y="3"/>
                          <a:pt x="128" y="3"/>
                          <a:pt x="128" y="3"/>
                        </a:cubicBezTo>
                        <a:cubicBezTo>
                          <a:pt x="127" y="3"/>
                          <a:pt x="127" y="3"/>
                          <a:pt x="126" y="2"/>
                        </a:cubicBezTo>
                        <a:cubicBezTo>
                          <a:pt x="125" y="3"/>
                          <a:pt x="125" y="4"/>
                          <a:pt x="124" y="4"/>
                        </a:cubicBezTo>
                        <a:cubicBezTo>
                          <a:pt x="123" y="1"/>
                          <a:pt x="123" y="4"/>
                          <a:pt x="120" y="3"/>
                        </a:cubicBezTo>
                        <a:cubicBezTo>
                          <a:pt x="118" y="3"/>
                          <a:pt x="117" y="0"/>
                          <a:pt x="114" y="2"/>
                        </a:cubicBezTo>
                        <a:cubicBezTo>
                          <a:pt x="114" y="3"/>
                          <a:pt x="114" y="3"/>
                          <a:pt x="114" y="4"/>
                        </a:cubicBezTo>
                        <a:cubicBezTo>
                          <a:pt x="111" y="6"/>
                          <a:pt x="110" y="8"/>
                          <a:pt x="106" y="6"/>
                        </a:cubicBezTo>
                        <a:cubicBezTo>
                          <a:pt x="104" y="5"/>
                          <a:pt x="104" y="5"/>
                          <a:pt x="102" y="5"/>
                        </a:cubicBezTo>
                        <a:cubicBezTo>
                          <a:pt x="100" y="5"/>
                          <a:pt x="98" y="5"/>
                          <a:pt x="96" y="5"/>
                        </a:cubicBezTo>
                        <a:cubicBezTo>
                          <a:pt x="95" y="4"/>
                          <a:pt x="95" y="4"/>
                          <a:pt x="95" y="4"/>
                        </a:cubicBezTo>
                        <a:cubicBezTo>
                          <a:pt x="93" y="2"/>
                          <a:pt x="95" y="1"/>
                          <a:pt x="91" y="0"/>
                        </a:cubicBezTo>
                        <a:cubicBezTo>
                          <a:pt x="92" y="0"/>
                          <a:pt x="92" y="0"/>
                          <a:pt x="92" y="0"/>
                        </a:cubicBezTo>
                        <a:cubicBezTo>
                          <a:pt x="93" y="2"/>
                          <a:pt x="91" y="8"/>
                          <a:pt x="92" y="9"/>
                        </a:cubicBezTo>
                        <a:cubicBezTo>
                          <a:pt x="93" y="10"/>
                          <a:pt x="95" y="8"/>
                          <a:pt x="96" y="10"/>
                        </a:cubicBezTo>
                        <a:cubicBezTo>
                          <a:pt x="97" y="11"/>
                          <a:pt x="95" y="13"/>
                          <a:pt x="98" y="12"/>
                        </a:cubicBezTo>
                        <a:cubicBezTo>
                          <a:pt x="98" y="14"/>
                          <a:pt x="97" y="15"/>
                          <a:pt x="97" y="17"/>
                        </a:cubicBezTo>
                        <a:cubicBezTo>
                          <a:pt x="98" y="19"/>
                          <a:pt x="99" y="19"/>
                          <a:pt x="100" y="21"/>
                        </a:cubicBezTo>
                        <a:cubicBezTo>
                          <a:pt x="101" y="22"/>
                          <a:pt x="102" y="25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2" y="26"/>
                          <a:pt x="102" y="26"/>
                          <a:pt x="102" y="26"/>
                        </a:cubicBezTo>
                        <a:cubicBezTo>
                          <a:pt x="101" y="26"/>
                          <a:pt x="101" y="26"/>
                          <a:pt x="101" y="26"/>
                        </a:cubicBezTo>
                        <a:cubicBezTo>
                          <a:pt x="101" y="26"/>
                          <a:pt x="101" y="26"/>
                          <a:pt x="101" y="26"/>
                        </a:cubicBezTo>
                        <a:cubicBezTo>
                          <a:pt x="101" y="26"/>
                          <a:pt x="101" y="26"/>
                          <a:pt x="101" y="26"/>
                        </a:cubicBezTo>
                        <a:cubicBezTo>
                          <a:pt x="101" y="26"/>
                          <a:pt x="101" y="26"/>
                          <a:pt x="101" y="26"/>
                        </a:cubicBezTo>
                        <a:cubicBezTo>
                          <a:pt x="101" y="26"/>
                          <a:pt x="101" y="26"/>
                          <a:pt x="101" y="26"/>
                        </a:cubicBezTo>
                        <a:cubicBezTo>
                          <a:pt x="101" y="26"/>
                          <a:pt x="101" y="26"/>
                          <a:pt x="101" y="26"/>
                        </a:cubicBezTo>
                        <a:cubicBezTo>
                          <a:pt x="101" y="26"/>
                          <a:pt x="101" y="26"/>
                          <a:pt x="101" y="26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1" y="27"/>
                          <a:pt x="101" y="27"/>
                          <a:pt x="101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7"/>
                          <a:pt x="100" y="27"/>
                          <a:pt x="100" y="27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100" y="28"/>
                          <a:pt x="100" y="28"/>
                          <a:pt x="100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8"/>
                          <a:pt x="99" y="28"/>
                          <a:pt x="99" y="28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9" y="29"/>
                          <a:pt x="99" y="29"/>
                          <a:pt x="99" y="29"/>
                        </a:cubicBezTo>
                        <a:cubicBezTo>
                          <a:pt x="99" y="30"/>
                          <a:pt x="99" y="31"/>
                          <a:pt x="99" y="31"/>
                        </a:cubicBezTo>
                        <a:cubicBezTo>
                          <a:pt x="99" y="33"/>
                          <a:pt x="99" y="34"/>
                          <a:pt x="99" y="34"/>
                        </a:cubicBezTo>
                        <a:cubicBezTo>
                          <a:pt x="102" y="38"/>
                          <a:pt x="102" y="38"/>
                          <a:pt x="102" y="38"/>
                        </a:cubicBezTo>
                        <a:cubicBezTo>
                          <a:pt x="103" y="41"/>
                          <a:pt x="106" y="44"/>
                          <a:pt x="103" y="47"/>
                        </a:cubicBezTo>
                        <a:cubicBezTo>
                          <a:pt x="102" y="48"/>
                          <a:pt x="101" y="49"/>
                          <a:pt x="99" y="50"/>
                        </a:cubicBezTo>
                        <a:cubicBezTo>
                          <a:pt x="98" y="50"/>
                          <a:pt x="97" y="52"/>
                          <a:pt x="96" y="53"/>
                        </a:cubicBezTo>
                        <a:cubicBezTo>
                          <a:pt x="96" y="54"/>
                          <a:pt x="94" y="54"/>
                          <a:pt x="93" y="55"/>
                        </a:cubicBezTo>
                        <a:cubicBezTo>
                          <a:pt x="92" y="56"/>
                          <a:pt x="92" y="58"/>
                          <a:pt x="91" y="59"/>
                        </a:cubicBezTo>
                        <a:cubicBezTo>
                          <a:pt x="90" y="59"/>
                          <a:pt x="88" y="59"/>
                          <a:pt x="87" y="59"/>
                        </a:cubicBezTo>
                        <a:cubicBezTo>
                          <a:pt x="87" y="62"/>
                          <a:pt x="84" y="65"/>
                          <a:pt x="85" y="68"/>
                        </a:cubicBezTo>
                        <a:cubicBezTo>
                          <a:pt x="86" y="70"/>
                          <a:pt x="89" y="70"/>
                          <a:pt x="89" y="72"/>
                        </a:cubicBezTo>
                        <a:cubicBezTo>
                          <a:pt x="96" y="73"/>
                          <a:pt x="97" y="80"/>
                          <a:pt x="97" y="85"/>
                        </a:cubicBezTo>
                        <a:cubicBezTo>
                          <a:pt x="95" y="85"/>
                          <a:pt x="94" y="83"/>
                          <a:pt x="92" y="83"/>
                        </a:cubicBezTo>
                        <a:cubicBezTo>
                          <a:pt x="89" y="84"/>
                          <a:pt x="89" y="86"/>
                          <a:pt x="89" y="88"/>
                        </a:cubicBezTo>
                        <a:cubicBezTo>
                          <a:pt x="87" y="88"/>
                          <a:pt x="86" y="88"/>
                          <a:pt x="84" y="88"/>
                        </a:cubicBezTo>
                        <a:cubicBezTo>
                          <a:pt x="84" y="90"/>
                          <a:pt x="87" y="97"/>
                          <a:pt x="89" y="97"/>
                        </a:cubicBezTo>
                        <a:cubicBezTo>
                          <a:pt x="88" y="99"/>
                          <a:pt x="85" y="100"/>
                          <a:pt x="85" y="102"/>
                        </a:cubicBezTo>
                        <a:cubicBezTo>
                          <a:pt x="85" y="104"/>
                          <a:pt x="88" y="105"/>
                          <a:pt x="89" y="107"/>
                        </a:cubicBezTo>
                        <a:cubicBezTo>
                          <a:pt x="92" y="111"/>
                          <a:pt x="90" y="115"/>
                          <a:pt x="90" y="119"/>
                        </a:cubicBezTo>
                        <a:cubicBezTo>
                          <a:pt x="89" y="119"/>
                          <a:pt x="89" y="120"/>
                          <a:pt x="88" y="120"/>
                        </a:cubicBezTo>
                        <a:cubicBezTo>
                          <a:pt x="87" y="123"/>
                          <a:pt x="90" y="122"/>
                          <a:pt x="91" y="124"/>
                        </a:cubicBezTo>
                        <a:cubicBezTo>
                          <a:pt x="92" y="126"/>
                          <a:pt x="91" y="128"/>
                          <a:pt x="91" y="130"/>
                        </a:cubicBezTo>
                        <a:cubicBezTo>
                          <a:pt x="90" y="130"/>
                          <a:pt x="88" y="130"/>
                          <a:pt x="86" y="130"/>
                        </a:cubicBezTo>
                        <a:cubicBezTo>
                          <a:pt x="87" y="132"/>
                          <a:pt x="83" y="134"/>
                          <a:pt x="88" y="135"/>
                        </a:cubicBezTo>
                        <a:cubicBezTo>
                          <a:pt x="88" y="139"/>
                          <a:pt x="87" y="141"/>
                          <a:pt x="84" y="144"/>
                        </a:cubicBezTo>
                        <a:cubicBezTo>
                          <a:pt x="84" y="145"/>
                          <a:pt x="80" y="146"/>
                          <a:pt x="80" y="148"/>
                        </a:cubicBezTo>
                        <a:cubicBezTo>
                          <a:pt x="82" y="148"/>
                          <a:pt x="82" y="149"/>
                          <a:pt x="83" y="150"/>
                        </a:cubicBezTo>
                        <a:cubicBezTo>
                          <a:pt x="81" y="150"/>
                          <a:pt x="78" y="150"/>
                          <a:pt x="78" y="152"/>
                        </a:cubicBezTo>
                        <a:cubicBezTo>
                          <a:pt x="74" y="150"/>
                          <a:pt x="75" y="154"/>
                          <a:pt x="74" y="156"/>
                        </a:cubicBezTo>
                        <a:cubicBezTo>
                          <a:pt x="74" y="156"/>
                          <a:pt x="74" y="156"/>
                          <a:pt x="74" y="156"/>
                        </a:cubicBezTo>
                        <a:cubicBezTo>
                          <a:pt x="74" y="157"/>
                          <a:pt x="74" y="158"/>
                          <a:pt x="74" y="159"/>
                        </a:cubicBezTo>
                        <a:cubicBezTo>
                          <a:pt x="71" y="159"/>
                          <a:pt x="71" y="157"/>
                          <a:pt x="69" y="156"/>
                        </a:cubicBezTo>
                        <a:cubicBezTo>
                          <a:pt x="68" y="156"/>
                          <a:pt x="66" y="155"/>
                          <a:pt x="64" y="156"/>
                        </a:cubicBezTo>
                        <a:cubicBezTo>
                          <a:pt x="63" y="156"/>
                          <a:pt x="66" y="159"/>
                          <a:pt x="66" y="160"/>
                        </a:cubicBezTo>
                        <a:cubicBezTo>
                          <a:pt x="66" y="161"/>
                          <a:pt x="65" y="161"/>
                          <a:pt x="64" y="162"/>
                        </a:cubicBezTo>
                        <a:cubicBezTo>
                          <a:pt x="64" y="163"/>
                          <a:pt x="64" y="164"/>
                          <a:pt x="64" y="165"/>
                        </a:cubicBezTo>
                        <a:cubicBezTo>
                          <a:pt x="62" y="165"/>
                          <a:pt x="61" y="164"/>
                          <a:pt x="59" y="164"/>
                        </a:cubicBezTo>
                        <a:cubicBezTo>
                          <a:pt x="60" y="165"/>
                          <a:pt x="61" y="166"/>
                          <a:pt x="60" y="167"/>
                        </a:cubicBezTo>
                        <a:cubicBezTo>
                          <a:pt x="56" y="168"/>
                          <a:pt x="54" y="165"/>
                          <a:pt x="50" y="165"/>
                        </a:cubicBezTo>
                        <a:cubicBezTo>
                          <a:pt x="48" y="164"/>
                          <a:pt x="48" y="167"/>
                          <a:pt x="48" y="168"/>
                        </a:cubicBezTo>
                        <a:cubicBezTo>
                          <a:pt x="44" y="164"/>
                          <a:pt x="45" y="173"/>
                          <a:pt x="42" y="173"/>
                        </a:cubicBezTo>
                        <a:cubicBezTo>
                          <a:pt x="40" y="174"/>
                          <a:pt x="37" y="174"/>
                          <a:pt x="35" y="175"/>
                        </a:cubicBezTo>
                        <a:cubicBezTo>
                          <a:pt x="33" y="176"/>
                          <a:pt x="30" y="178"/>
                          <a:pt x="28" y="179"/>
                        </a:cubicBezTo>
                        <a:cubicBezTo>
                          <a:pt x="26" y="181"/>
                          <a:pt x="25" y="181"/>
                          <a:pt x="24" y="184"/>
                        </a:cubicBezTo>
                        <a:cubicBezTo>
                          <a:pt x="24" y="186"/>
                          <a:pt x="23" y="186"/>
                          <a:pt x="21" y="186"/>
                        </a:cubicBezTo>
                        <a:cubicBezTo>
                          <a:pt x="17" y="186"/>
                          <a:pt x="16" y="184"/>
                          <a:pt x="15" y="180"/>
                        </a:cubicBezTo>
                        <a:cubicBezTo>
                          <a:pt x="13" y="180"/>
                          <a:pt x="11" y="180"/>
                          <a:pt x="9" y="180"/>
                        </a:cubicBezTo>
                        <a:cubicBezTo>
                          <a:pt x="9" y="182"/>
                          <a:pt x="11" y="183"/>
                          <a:pt x="10" y="184"/>
                        </a:cubicBezTo>
                        <a:cubicBezTo>
                          <a:pt x="8" y="184"/>
                          <a:pt x="5" y="184"/>
                          <a:pt x="2" y="184"/>
                        </a:cubicBezTo>
                        <a:cubicBezTo>
                          <a:pt x="4" y="185"/>
                          <a:pt x="5" y="192"/>
                          <a:pt x="2" y="192"/>
                        </a:cubicBezTo>
                        <a:cubicBezTo>
                          <a:pt x="1" y="193"/>
                          <a:pt x="0" y="196"/>
                          <a:pt x="0" y="197"/>
                        </a:cubicBezTo>
                        <a:cubicBezTo>
                          <a:pt x="1" y="197"/>
                          <a:pt x="4" y="197"/>
                          <a:pt x="4" y="198"/>
                        </a:cubicBezTo>
                        <a:cubicBezTo>
                          <a:pt x="4" y="199"/>
                          <a:pt x="4" y="200"/>
                          <a:pt x="6" y="200"/>
                        </a:cubicBezTo>
                        <a:cubicBezTo>
                          <a:pt x="9" y="199"/>
                          <a:pt x="11" y="200"/>
                          <a:pt x="12" y="203"/>
                        </a:cubicBezTo>
                        <a:cubicBezTo>
                          <a:pt x="15" y="202"/>
                          <a:pt x="16" y="204"/>
                          <a:pt x="17" y="206"/>
                        </a:cubicBezTo>
                        <a:cubicBezTo>
                          <a:pt x="19" y="209"/>
                          <a:pt x="21" y="207"/>
                          <a:pt x="24" y="207"/>
                        </a:cubicBezTo>
                        <a:cubicBezTo>
                          <a:pt x="24" y="208"/>
                          <a:pt x="25" y="209"/>
                          <a:pt x="26" y="209"/>
                        </a:cubicBezTo>
                        <a:cubicBezTo>
                          <a:pt x="26" y="208"/>
                          <a:pt x="26" y="208"/>
                          <a:pt x="26" y="208"/>
                        </a:cubicBezTo>
                        <a:cubicBezTo>
                          <a:pt x="28" y="208"/>
                          <a:pt x="34" y="207"/>
                          <a:pt x="33" y="210"/>
                        </a:cubicBezTo>
                        <a:cubicBezTo>
                          <a:pt x="30" y="211"/>
                          <a:pt x="27" y="214"/>
                          <a:pt x="30" y="217"/>
                        </a:cubicBezTo>
                        <a:cubicBezTo>
                          <a:pt x="30" y="218"/>
                          <a:pt x="32" y="220"/>
                          <a:pt x="33" y="220"/>
                        </a:cubicBezTo>
                        <a:cubicBezTo>
                          <a:pt x="34" y="222"/>
                          <a:pt x="36" y="223"/>
                          <a:pt x="38" y="223"/>
                        </a:cubicBezTo>
                        <a:cubicBezTo>
                          <a:pt x="38" y="224"/>
                          <a:pt x="38" y="225"/>
                          <a:pt x="37" y="226"/>
                        </a:cubicBezTo>
                        <a:cubicBezTo>
                          <a:pt x="39" y="226"/>
                          <a:pt x="40" y="226"/>
                          <a:pt x="41" y="226"/>
                        </a:cubicBezTo>
                        <a:cubicBezTo>
                          <a:pt x="40" y="228"/>
                          <a:pt x="44" y="229"/>
                          <a:pt x="45" y="231"/>
                        </a:cubicBezTo>
                        <a:cubicBezTo>
                          <a:pt x="46" y="233"/>
                          <a:pt x="44" y="232"/>
                          <a:pt x="43" y="234"/>
                        </a:cubicBezTo>
                        <a:cubicBezTo>
                          <a:pt x="45" y="235"/>
                          <a:pt x="47" y="235"/>
                          <a:pt x="47" y="238"/>
                        </a:cubicBezTo>
                        <a:cubicBezTo>
                          <a:pt x="47" y="241"/>
                          <a:pt x="48" y="239"/>
                          <a:pt x="50" y="241"/>
                        </a:cubicBezTo>
                        <a:cubicBezTo>
                          <a:pt x="48" y="241"/>
                          <a:pt x="47" y="244"/>
                          <a:pt x="44" y="244"/>
                        </a:cubicBezTo>
                        <a:cubicBezTo>
                          <a:pt x="43" y="244"/>
                          <a:pt x="43" y="244"/>
                          <a:pt x="42" y="245"/>
                        </a:cubicBezTo>
                        <a:cubicBezTo>
                          <a:pt x="43" y="245"/>
                          <a:pt x="43" y="245"/>
                          <a:pt x="44" y="245"/>
                        </a:cubicBezTo>
                        <a:cubicBezTo>
                          <a:pt x="45" y="251"/>
                          <a:pt x="50" y="248"/>
                          <a:pt x="54" y="251"/>
                        </a:cubicBezTo>
                        <a:cubicBezTo>
                          <a:pt x="57" y="254"/>
                          <a:pt x="53" y="257"/>
                          <a:pt x="55" y="260"/>
                        </a:cubicBezTo>
                        <a:cubicBezTo>
                          <a:pt x="56" y="261"/>
                          <a:pt x="59" y="263"/>
                          <a:pt x="59" y="260"/>
                        </a:cubicBezTo>
                        <a:cubicBezTo>
                          <a:pt x="62" y="259"/>
                          <a:pt x="62" y="260"/>
                          <a:pt x="63" y="257"/>
                        </a:cubicBezTo>
                        <a:cubicBezTo>
                          <a:pt x="66" y="256"/>
                          <a:pt x="67" y="259"/>
                          <a:pt x="67" y="262"/>
                        </a:cubicBezTo>
                        <a:cubicBezTo>
                          <a:pt x="68" y="265"/>
                          <a:pt x="72" y="264"/>
                          <a:pt x="74" y="266"/>
                        </a:cubicBezTo>
                        <a:cubicBezTo>
                          <a:pt x="77" y="269"/>
                          <a:pt x="80" y="269"/>
                          <a:pt x="79" y="274"/>
                        </a:cubicBezTo>
                        <a:cubicBezTo>
                          <a:pt x="81" y="273"/>
                          <a:pt x="82" y="272"/>
                          <a:pt x="84" y="271"/>
                        </a:cubicBezTo>
                        <a:cubicBezTo>
                          <a:pt x="87" y="270"/>
                          <a:pt x="90" y="271"/>
                          <a:pt x="91" y="267"/>
                        </a:cubicBezTo>
                        <a:cubicBezTo>
                          <a:pt x="91" y="266"/>
                          <a:pt x="91" y="266"/>
                          <a:pt x="92" y="264"/>
                        </a:cubicBezTo>
                        <a:cubicBezTo>
                          <a:pt x="92" y="263"/>
                          <a:pt x="94" y="263"/>
                          <a:pt x="95" y="262"/>
                        </a:cubicBezTo>
                        <a:cubicBezTo>
                          <a:pt x="96" y="261"/>
                          <a:pt x="96" y="260"/>
                          <a:pt x="97" y="259"/>
                        </a:cubicBezTo>
                        <a:cubicBezTo>
                          <a:pt x="97" y="259"/>
                          <a:pt x="98" y="259"/>
                          <a:pt x="98" y="258"/>
                        </a:cubicBezTo>
                        <a:cubicBezTo>
                          <a:pt x="99" y="257"/>
                          <a:pt x="99" y="256"/>
                          <a:pt x="100" y="256"/>
                        </a:cubicBezTo>
                        <a:cubicBezTo>
                          <a:pt x="102" y="255"/>
                          <a:pt x="102" y="256"/>
                          <a:pt x="103" y="255"/>
                        </a:cubicBezTo>
                        <a:cubicBezTo>
                          <a:pt x="104" y="253"/>
                          <a:pt x="103" y="253"/>
                          <a:pt x="105" y="252"/>
                        </a:cubicBezTo>
                        <a:cubicBezTo>
                          <a:pt x="105" y="252"/>
                          <a:pt x="107" y="252"/>
                          <a:pt x="107" y="252"/>
                        </a:cubicBezTo>
                        <a:cubicBezTo>
                          <a:pt x="108" y="250"/>
                          <a:pt x="108" y="248"/>
                          <a:pt x="108" y="247"/>
                        </a:cubicBezTo>
                        <a:cubicBezTo>
                          <a:pt x="107" y="245"/>
                          <a:pt x="106" y="244"/>
                          <a:pt x="105" y="243"/>
                        </a:cubicBezTo>
                        <a:cubicBezTo>
                          <a:pt x="110" y="242"/>
                          <a:pt x="110" y="247"/>
                          <a:pt x="110" y="250"/>
                        </a:cubicBezTo>
                        <a:cubicBezTo>
                          <a:pt x="109" y="252"/>
                          <a:pt x="108" y="253"/>
                          <a:pt x="107" y="254"/>
                        </a:cubicBezTo>
                        <a:cubicBezTo>
                          <a:pt x="107" y="256"/>
                          <a:pt x="108" y="257"/>
                          <a:pt x="109" y="258"/>
                        </a:cubicBezTo>
                        <a:cubicBezTo>
                          <a:pt x="110" y="259"/>
                          <a:pt x="110" y="259"/>
                          <a:pt x="110" y="261"/>
                        </a:cubicBezTo>
                        <a:cubicBezTo>
                          <a:pt x="110" y="261"/>
                          <a:pt x="110" y="263"/>
                          <a:pt x="110" y="263"/>
                        </a:cubicBezTo>
                        <a:cubicBezTo>
                          <a:pt x="111" y="265"/>
                          <a:pt x="113" y="262"/>
                          <a:pt x="114" y="261"/>
                        </a:cubicBezTo>
                        <a:cubicBezTo>
                          <a:pt x="115" y="260"/>
                          <a:pt x="115" y="259"/>
                          <a:pt x="116" y="258"/>
                        </a:cubicBezTo>
                        <a:cubicBezTo>
                          <a:pt x="119" y="257"/>
                          <a:pt x="120" y="258"/>
                          <a:pt x="119" y="261"/>
                        </a:cubicBezTo>
                        <a:cubicBezTo>
                          <a:pt x="120" y="261"/>
                          <a:pt x="121" y="261"/>
                          <a:pt x="122" y="261"/>
                        </a:cubicBezTo>
                        <a:cubicBezTo>
                          <a:pt x="122" y="257"/>
                          <a:pt x="122" y="257"/>
                          <a:pt x="125" y="257"/>
                        </a:cubicBezTo>
                        <a:cubicBezTo>
                          <a:pt x="125" y="256"/>
                          <a:pt x="125" y="253"/>
                          <a:pt x="125" y="252"/>
                        </a:cubicBezTo>
                        <a:cubicBezTo>
                          <a:pt x="125" y="251"/>
                          <a:pt x="126" y="250"/>
                          <a:pt x="126" y="248"/>
                        </a:cubicBezTo>
                        <a:cubicBezTo>
                          <a:pt x="129" y="248"/>
                          <a:pt x="133" y="249"/>
                          <a:pt x="133" y="246"/>
                        </a:cubicBezTo>
                        <a:cubicBezTo>
                          <a:pt x="135" y="245"/>
                          <a:pt x="136" y="244"/>
                          <a:pt x="137" y="242"/>
                        </a:cubicBezTo>
                        <a:cubicBezTo>
                          <a:pt x="138" y="241"/>
                          <a:pt x="137" y="241"/>
                          <a:pt x="139" y="240"/>
                        </a:cubicBezTo>
                        <a:cubicBezTo>
                          <a:pt x="140" y="240"/>
                          <a:pt x="141" y="240"/>
                          <a:pt x="142" y="240"/>
                        </a:cubicBezTo>
                        <a:cubicBezTo>
                          <a:pt x="144" y="241"/>
                          <a:pt x="146" y="243"/>
                          <a:pt x="147" y="244"/>
                        </a:cubicBezTo>
                        <a:cubicBezTo>
                          <a:pt x="147" y="245"/>
                          <a:pt x="148" y="246"/>
                          <a:pt x="149" y="246"/>
                        </a:cubicBezTo>
                        <a:cubicBezTo>
                          <a:pt x="148" y="244"/>
                          <a:pt x="148" y="243"/>
                          <a:pt x="147" y="241"/>
                        </a:cubicBezTo>
                        <a:cubicBezTo>
                          <a:pt x="145" y="238"/>
                          <a:pt x="144" y="236"/>
                          <a:pt x="144" y="232"/>
                        </a:cubicBezTo>
                        <a:cubicBezTo>
                          <a:pt x="144" y="228"/>
                          <a:pt x="143" y="226"/>
                          <a:pt x="141" y="222"/>
                        </a:cubicBezTo>
                        <a:cubicBezTo>
                          <a:pt x="141" y="221"/>
                          <a:pt x="141" y="219"/>
                          <a:pt x="141" y="218"/>
                        </a:cubicBezTo>
                        <a:cubicBezTo>
                          <a:pt x="140" y="216"/>
                          <a:pt x="139" y="214"/>
                          <a:pt x="141" y="214"/>
                        </a:cubicBezTo>
                        <a:cubicBezTo>
                          <a:pt x="141" y="212"/>
                          <a:pt x="141" y="211"/>
                          <a:pt x="141" y="209"/>
                        </a:cubicBezTo>
                        <a:cubicBezTo>
                          <a:pt x="140" y="208"/>
                          <a:pt x="139" y="208"/>
                          <a:pt x="139" y="207"/>
                        </a:cubicBezTo>
                        <a:cubicBezTo>
                          <a:pt x="138" y="206"/>
                          <a:pt x="138" y="206"/>
                          <a:pt x="137" y="205"/>
                        </a:cubicBezTo>
                        <a:cubicBezTo>
                          <a:pt x="138" y="203"/>
                          <a:pt x="137" y="198"/>
                          <a:pt x="140" y="197"/>
                        </a:cubicBezTo>
                        <a:cubicBezTo>
                          <a:pt x="140" y="195"/>
                          <a:pt x="141" y="194"/>
                          <a:pt x="143" y="194"/>
                        </a:cubicBezTo>
                        <a:cubicBezTo>
                          <a:pt x="142" y="194"/>
                          <a:pt x="137" y="192"/>
                          <a:pt x="136" y="192"/>
                        </a:cubicBezTo>
                        <a:cubicBezTo>
                          <a:pt x="133" y="192"/>
                          <a:pt x="131" y="197"/>
                          <a:pt x="130" y="193"/>
                        </a:cubicBezTo>
                        <a:cubicBezTo>
                          <a:pt x="129" y="191"/>
                          <a:pt x="130" y="188"/>
                          <a:pt x="131" y="186"/>
                        </a:cubicBezTo>
                        <a:cubicBezTo>
                          <a:pt x="131" y="185"/>
                          <a:pt x="131" y="184"/>
                          <a:pt x="131" y="184"/>
                        </a:cubicBezTo>
                        <a:cubicBezTo>
                          <a:pt x="131" y="183"/>
                          <a:pt x="132" y="183"/>
                          <a:pt x="132" y="182"/>
                        </a:cubicBezTo>
                        <a:cubicBezTo>
                          <a:pt x="133" y="180"/>
                          <a:pt x="131" y="180"/>
                          <a:pt x="129" y="179"/>
                        </a:cubicBezTo>
                        <a:cubicBezTo>
                          <a:pt x="128" y="179"/>
                          <a:pt x="127" y="178"/>
                          <a:pt x="125" y="177"/>
                        </a:cubicBezTo>
                        <a:cubicBezTo>
                          <a:pt x="125" y="176"/>
                          <a:pt x="125" y="175"/>
                          <a:pt x="125" y="175"/>
                        </a:cubicBezTo>
                        <a:cubicBezTo>
                          <a:pt x="124" y="175"/>
                          <a:pt x="122" y="175"/>
                          <a:pt x="122" y="175"/>
                        </a:cubicBezTo>
                        <a:cubicBezTo>
                          <a:pt x="122" y="172"/>
                          <a:pt x="121" y="169"/>
                          <a:pt x="122" y="166"/>
                        </a:cubicBezTo>
                        <a:cubicBezTo>
                          <a:pt x="122" y="165"/>
                          <a:pt x="122" y="163"/>
                          <a:pt x="123" y="163"/>
                        </a:cubicBezTo>
                        <a:cubicBezTo>
                          <a:pt x="124" y="162"/>
                          <a:pt x="125" y="163"/>
                          <a:pt x="126" y="162"/>
                        </a:cubicBezTo>
                        <a:cubicBezTo>
                          <a:pt x="128" y="162"/>
                          <a:pt x="127" y="161"/>
                          <a:pt x="128" y="160"/>
                        </a:cubicBezTo>
                        <a:cubicBezTo>
                          <a:pt x="129" y="157"/>
                          <a:pt x="130" y="156"/>
                          <a:pt x="131" y="153"/>
                        </a:cubicBezTo>
                        <a:cubicBezTo>
                          <a:pt x="131" y="150"/>
                          <a:pt x="130" y="144"/>
                          <a:pt x="127" y="142"/>
                        </a:cubicBezTo>
                        <a:cubicBezTo>
                          <a:pt x="125" y="141"/>
                          <a:pt x="123" y="141"/>
                          <a:pt x="121" y="141"/>
                        </a:cubicBezTo>
                        <a:cubicBezTo>
                          <a:pt x="119" y="141"/>
                          <a:pt x="118" y="140"/>
                          <a:pt x="117" y="139"/>
                        </a:cubicBezTo>
                        <a:cubicBezTo>
                          <a:pt x="115" y="139"/>
                          <a:pt x="112" y="139"/>
                          <a:pt x="110" y="139"/>
                        </a:cubicBezTo>
                        <a:cubicBezTo>
                          <a:pt x="111" y="136"/>
                          <a:pt x="109" y="135"/>
                          <a:pt x="107" y="135"/>
                        </a:cubicBezTo>
                        <a:cubicBezTo>
                          <a:pt x="106" y="134"/>
                          <a:pt x="103" y="133"/>
                          <a:pt x="101" y="131"/>
                        </a:cubicBezTo>
                        <a:cubicBezTo>
                          <a:pt x="101" y="130"/>
                          <a:pt x="101" y="129"/>
                          <a:pt x="100" y="128"/>
                        </a:cubicBezTo>
                        <a:cubicBezTo>
                          <a:pt x="99" y="127"/>
                          <a:pt x="97" y="126"/>
                          <a:pt x="97" y="125"/>
                        </a:cubicBezTo>
                        <a:cubicBezTo>
                          <a:pt x="96" y="124"/>
                          <a:pt x="98" y="124"/>
                          <a:pt x="99" y="123"/>
                        </a:cubicBezTo>
                        <a:cubicBezTo>
                          <a:pt x="99" y="122"/>
                          <a:pt x="98" y="121"/>
                          <a:pt x="99" y="121"/>
                        </a:cubicBezTo>
                        <a:cubicBezTo>
                          <a:pt x="99" y="120"/>
                          <a:pt x="100" y="120"/>
                          <a:pt x="100" y="119"/>
                        </a:cubicBezTo>
                        <a:cubicBezTo>
                          <a:pt x="102" y="117"/>
                          <a:pt x="101" y="114"/>
                          <a:pt x="102" y="111"/>
                        </a:cubicBezTo>
                        <a:cubicBezTo>
                          <a:pt x="103" y="111"/>
                          <a:pt x="107" y="111"/>
                          <a:pt x="108" y="112"/>
                        </a:cubicBezTo>
                        <a:cubicBezTo>
                          <a:pt x="108" y="112"/>
                          <a:pt x="107" y="114"/>
                          <a:pt x="108" y="114"/>
                        </a:cubicBezTo>
                        <a:cubicBezTo>
                          <a:pt x="109" y="115"/>
                          <a:pt x="110" y="115"/>
                          <a:pt x="111" y="115"/>
                        </a:cubicBezTo>
                        <a:cubicBezTo>
                          <a:pt x="110" y="114"/>
                          <a:pt x="109" y="113"/>
                          <a:pt x="110" y="111"/>
                        </a:cubicBezTo>
                        <a:cubicBezTo>
                          <a:pt x="111" y="111"/>
                          <a:pt x="112" y="112"/>
                          <a:pt x="113" y="111"/>
                        </a:cubicBezTo>
                        <a:cubicBezTo>
                          <a:pt x="114" y="108"/>
                          <a:pt x="113" y="108"/>
                          <a:pt x="116" y="107"/>
                        </a:cubicBezTo>
                        <a:cubicBezTo>
                          <a:pt x="117" y="105"/>
                          <a:pt x="115" y="103"/>
                          <a:pt x="116" y="100"/>
                        </a:cubicBezTo>
                        <a:cubicBezTo>
                          <a:pt x="118" y="99"/>
                          <a:pt x="121" y="100"/>
                          <a:pt x="123" y="99"/>
                        </a:cubicBezTo>
                        <a:cubicBezTo>
                          <a:pt x="125" y="99"/>
                          <a:pt x="128" y="99"/>
                          <a:pt x="131" y="99"/>
                        </a:cubicBezTo>
                        <a:cubicBezTo>
                          <a:pt x="131" y="97"/>
                          <a:pt x="135" y="100"/>
                          <a:pt x="137" y="99"/>
                        </a:cubicBezTo>
                        <a:cubicBezTo>
                          <a:pt x="138" y="98"/>
                          <a:pt x="139" y="92"/>
                          <a:pt x="139" y="90"/>
                        </a:cubicBezTo>
                        <a:cubicBezTo>
                          <a:pt x="137" y="90"/>
                          <a:pt x="138" y="92"/>
                          <a:pt x="136" y="93"/>
                        </a:cubicBezTo>
                        <a:cubicBezTo>
                          <a:pt x="135" y="93"/>
                          <a:pt x="133" y="91"/>
                          <a:pt x="132" y="90"/>
                        </a:cubicBezTo>
                        <a:cubicBezTo>
                          <a:pt x="132" y="89"/>
                          <a:pt x="131" y="88"/>
                          <a:pt x="131" y="87"/>
                        </a:cubicBezTo>
                        <a:cubicBezTo>
                          <a:pt x="130" y="85"/>
                          <a:pt x="129" y="84"/>
                          <a:pt x="129" y="83"/>
                        </a:cubicBezTo>
                        <a:cubicBezTo>
                          <a:pt x="127" y="84"/>
                          <a:pt x="127" y="85"/>
                          <a:pt x="125" y="86"/>
                        </a:cubicBezTo>
                        <a:cubicBezTo>
                          <a:pt x="123" y="86"/>
                          <a:pt x="122" y="86"/>
                          <a:pt x="120" y="85"/>
                        </a:cubicBezTo>
                        <a:cubicBezTo>
                          <a:pt x="118" y="84"/>
                          <a:pt x="115" y="83"/>
                          <a:pt x="114" y="80"/>
                        </a:cubicBezTo>
                        <a:cubicBezTo>
                          <a:pt x="113" y="79"/>
                          <a:pt x="114" y="78"/>
                          <a:pt x="114" y="77"/>
                        </a:cubicBezTo>
                        <a:cubicBezTo>
                          <a:pt x="113" y="77"/>
                          <a:pt x="112" y="76"/>
                          <a:pt x="111" y="75"/>
                        </a:cubicBezTo>
                        <a:cubicBezTo>
                          <a:pt x="110" y="74"/>
                          <a:pt x="109" y="73"/>
                          <a:pt x="108" y="73"/>
                        </a:cubicBezTo>
                        <a:cubicBezTo>
                          <a:pt x="107" y="72"/>
                          <a:pt x="105" y="72"/>
                          <a:pt x="104" y="71"/>
                        </a:cubicBezTo>
                        <a:cubicBezTo>
                          <a:pt x="102" y="71"/>
                          <a:pt x="101" y="72"/>
                          <a:pt x="99" y="71"/>
                        </a:cubicBezTo>
                        <a:cubicBezTo>
                          <a:pt x="99" y="68"/>
                          <a:pt x="98" y="61"/>
                          <a:pt x="102" y="61"/>
                        </a:cubicBezTo>
                        <a:cubicBezTo>
                          <a:pt x="103" y="59"/>
                          <a:pt x="101" y="59"/>
                          <a:pt x="101" y="57"/>
                        </a:cubicBezTo>
                        <a:cubicBezTo>
                          <a:pt x="101" y="56"/>
                          <a:pt x="102" y="55"/>
                          <a:pt x="103" y="54"/>
                        </a:cubicBezTo>
                        <a:cubicBezTo>
                          <a:pt x="104" y="52"/>
                          <a:pt x="107" y="52"/>
                          <a:pt x="109" y="50"/>
                        </a:cubicBezTo>
                        <a:cubicBezTo>
                          <a:pt x="110" y="49"/>
                          <a:pt x="110" y="47"/>
                          <a:pt x="111" y="46"/>
                        </a:cubicBezTo>
                        <a:cubicBezTo>
                          <a:pt x="111" y="46"/>
                          <a:pt x="111" y="46"/>
                          <a:pt x="111" y="46"/>
                        </a:cubicBezTo>
                        <a:cubicBezTo>
                          <a:pt x="111" y="46"/>
                          <a:pt x="111" y="46"/>
                          <a:pt x="111" y="46"/>
                        </a:cubicBezTo>
                        <a:cubicBezTo>
                          <a:pt x="111" y="46"/>
                          <a:pt x="111" y="46"/>
                          <a:pt x="111" y="46"/>
                        </a:cubicBezTo>
                        <a:cubicBezTo>
                          <a:pt x="111" y="46"/>
                          <a:pt x="111" y="46"/>
                          <a:pt x="111" y="46"/>
                        </a:cubicBezTo>
                        <a:cubicBezTo>
                          <a:pt x="111" y="46"/>
                          <a:pt x="111" y="46"/>
                          <a:pt x="111" y="46"/>
                        </a:cubicBezTo>
                        <a:cubicBezTo>
                          <a:pt x="111" y="46"/>
                          <a:pt x="111" y="46"/>
                          <a:pt x="111" y="46"/>
                        </a:cubicBezTo>
                        <a:cubicBezTo>
                          <a:pt x="111" y="46"/>
                          <a:pt x="111" y="46"/>
                          <a:pt x="111" y="46"/>
                        </a:cubicBezTo>
                        <a:cubicBezTo>
                          <a:pt x="111" y="46"/>
                          <a:pt x="111" y="46"/>
                          <a:pt x="111" y="46"/>
                        </a:cubicBezTo>
                        <a:cubicBezTo>
                          <a:pt x="112" y="45"/>
                          <a:pt x="114" y="44"/>
                          <a:pt x="115" y="44"/>
                        </a:cubicBezTo>
                        <a:cubicBezTo>
                          <a:pt x="116" y="43"/>
                          <a:pt x="115" y="42"/>
                          <a:pt x="115" y="40"/>
                        </a:cubicBezTo>
                        <a:cubicBezTo>
                          <a:pt x="112" y="40"/>
                          <a:pt x="111" y="40"/>
                          <a:pt x="110" y="37"/>
                        </a:cubicBezTo>
                        <a:cubicBezTo>
                          <a:pt x="109" y="36"/>
                          <a:pt x="108" y="36"/>
                          <a:pt x="109" y="34"/>
                        </a:cubicBezTo>
                        <a:cubicBezTo>
                          <a:pt x="109" y="33"/>
                          <a:pt x="110" y="32"/>
                          <a:pt x="110" y="31"/>
                        </a:cubicBezTo>
                        <a:cubicBezTo>
                          <a:pt x="110" y="31"/>
                          <a:pt x="110" y="32"/>
                          <a:pt x="110" y="33"/>
                        </a:cubicBezTo>
                        <a:cubicBezTo>
                          <a:pt x="111" y="33"/>
                          <a:pt x="111" y="33"/>
                          <a:pt x="112" y="33"/>
                        </a:cubicBezTo>
                        <a:cubicBezTo>
                          <a:pt x="112" y="35"/>
                          <a:pt x="116" y="37"/>
                          <a:pt x="117" y="37"/>
                        </a:cubicBezTo>
                        <a:cubicBezTo>
                          <a:pt x="117" y="38"/>
                          <a:pt x="117" y="39"/>
                          <a:pt x="117" y="39"/>
                        </a:cubicBezTo>
                        <a:cubicBezTo>
                          <a:pt x="119" y="39"/>
                          <a:pt x="120" y="39"/>
                          <a:pt x="121" y="39"/>
                        </a:cubicBezTo>
                        <a:cubicBezTo>
                          <a:pt x="121" y="40"/>
                          <a:pt x="121" y="41"/>
                          <a:pt x="120" y="42"/>
                        </a:cubicBezTo>
                        <a:cubicBezTo>
                          <a:pt x="122" y="42"/>
                          <a:pt x="124" y="42"/>
                          <a:pt x="125" y="42"/>
                        </a:cubicBezTo>
                        <a:cubicBezTo>
                          <a:pt x="125" y="43"/>
                          <a:pt x="126" y="45"/>
                          <a:pt x="125" y="46"/>
                        </a:cubicBezTo>
                        <a:cubicBezTo>
                          <a:pt x="125" y="48"/>
                          <a:pt x="123" y="49"/>
                          <a:pt x="123" y="50"/>
                        </a:cubicBezTo>
                        <a:cubicBezTo>
                          <a:pt x="124" y="51"/>
                          <a:pt x="126" y="50"/>
                          <a:pt x="127" y="50"/>
                        </a:cubicBezTo>
                        <a:cubicBezTo>
                          <a:pt x="127" y="52"/>
                          <a:pt x="126" y="54"/>
                          <a:pt x="127" y="55"/>
                        </a:cubicBezTo>
                        <a:cubicBezTo>
                          <a:pt x="127" y="54"/>
                          <a:pt x="128" y="53"/>
                          <a:pt x="128" y="52"/>
                        </a:cubicBezTo>
                        <a:cubicBezTo>
                          <a:pt x="129" y="51"/>
                          <a:pt x="127" y="47"/>
                          <a:pt x="130" y="47"/>
                        </a:cubicBezTo>
                        <a:cubicBezTo>
                          <a:pt x="130" y="48"/>
                          <a:pt x="130" y="49"/>
                          <a:pt x="131" y="50"/>
                        </a:cubicBezTo>
                        <a:cubicBezTo>
                          <a:pt x="131" y="49"/>
                          <a:pt x="131" y="48"/>
                          <a:pt x="131" y="47"/>
                        </a:cubicBezTo>
                        <a:cubicBezTo>
                          <a:pt x="133" y="46"/>
                          <a:pt x="133" y="47"/>
                          <a:pt x="134" y="48"/>
                        </a:cubicBezTo>
                        <a:cubicBezTo>
                          <a:pt x="135" y="48"/>
                          <a:pt x="135" y="49"/>
                          <a:pt x="136" y="49"/>
                        </a:cubicBezTo>
                        <a:cubicBezTo>
                          <a:pt x="137" y="49"/>
                          <a:pt x="138" y="49"/>
                          <a:pt x="139" y="49"/>
                        </a:cubicBezTo>
                        <a:cubicBezTo>
                          <a:pt x="138" y="47"/>
                          <a:pt x="137" y="46"/>
                          <a:pt x="136" y="44"/>
                        </a:cubicBezTo>
                        <a:cubicBezTo>
                          <a:pt x="135" y="43"/>
                          <a:pt x="133" y="42"/>
                          <a:pt x="134" y="40"/>
                        </a:cubicBezTo>
                        <a:cubicBezTo>
                          <a:pt x="135" y="39"/>
                          <a:pt x="137" y="39"/>
                          <a:pt x="139" y="39"/>
                        </a:cubicBezTo>
                        <a:cubicBezTo>
                          <a:pt x="139" y="42"/>
                          <a:pt x="141" y="41"/>
                          <a:pt x="142" y="43"/>
                        </a:cubicBezTo>
                        <a:cubicBezTo>
                          <a:pt x="143" y="43"/>
                          <a:pt x="143" y="46"/>
                          <a:pt x="143" y="47"/>
                        </a:cubicBezTo>
                        <a:cubicBezTo>
                          <a:pt x="143" y="49"/>
                          <a:pt x="143" y="50"/>
                          <a:pt x="144" y="51"/>
                        </a:cubicBezTo>
                        <a:cubicBezTo>
                          <a:pt x="144" y="51"/>
                          <a:pt x="144" y="51"/>
                          <a:pt x="144" y="51"/>
                        </a:cubicBezTo>
                        <a:cubicBezTo>
                          <a:pt x="144" y="51"/>
                          <a:pt x="144" y="51"/>
                          <a:pt x="144" y="51"/>
                        </a:cubicBezTo>
                        <a:cubicBezTo>
                          <a:pt x="144" y="51"/>
                          <a:pt x="144" y="51"/>
                          <a:pt x="144" y="51"/>
                        </a:cubicBezTo>
                        <a:cubicBezTo>
                          <a:pt x="144" y="51"/>
                          <a:pt x="144" y="51"/>
                          <a:pt x="144" y="51"/>
                        </a:cubicBezTo>
                        <a:cubicBezTo>
                          <a:pt x="144" y="51"/>
                          <a:pt x="144" y="51"/>
                          <a:pt x="144" y="51"/>
                        </a:cubicBezTo>
                        <a:cubicBezTo>
                          <a:pt x="144" y="51"/>
                          <a:pt x="144" y="51"/>
                          <a:pt x="144" y="51"/>
                        </a:cubicBezTo>
                        <a:cubicBezTo>
                          <a:pt x="144" y="51"/>
                          <a:pt x="144" y="51"/>
                          <a:pt x="144" y="51"/>
                        </a:cubicBezTo>
                        <a:cubicBezTo>
                          <a:pt x="144" y="51"/>
                          <a:pt x="144" y="51"/>
                          <a:pt x="144" y="51"/>
                        </a:cubicBezTo>
                        <a:cubicBezTo>
                          <a:pt x="144" y="51"/>
                          <a:pt x="144" y="51"/>
                          <a:pt x="144" y="51"/>
                        </a:cubicBezTo>
                        <a:cubicBezTo>
                          <a:pt x="144" y="51"/>
                          <a:pt x="144" y="51"/>
                          <a:pt x="144" y="51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4" y="52"/>
                          <a:pt x="144" y="52"/>
                          <a:pt x="144" y="52"/>
                        </a:cubicBezTo>
                        <a:cubicBezTo>
                          <a:pt x="145" y="53"/>
                          <a:pt x="145" y="53"/>
                          <a:pt x="146" y="54"/>
                        </a:cubicBezTo>
                        <a:cubicBezTo>
                          <a:pt x="146" y="54"/>
                          <a:pt x="147" y="54"/>
                          <a:pt x="147" y="55"/>
                        </a:cubicBezTo>
                        <a:cubicBezTo>
                          <a:pt x="150" y="56"/>
                          <a:pt x="153" y="58"/>
                          <a:pt x="156" y="59"/>
                        </a:cubicBezTo>
                        <a:cubicBezTo>
                          <a:pt x="157" y="59"/>
                          <a:pt x="162" y="60"/>
                          <a:pt x="163" y="59"/>
                        </a:cubicBezTo>
                        <a:cubicBezTo>
                          <a:pt x="163" y="59"/>
                          <a:pt x="163" y="57"/>
                          <a:pt x="164" y="57"/>
                        </a:cubicBezTo>
                        <a:cubicBezTo>
                          <a:pt x="164" y="56"/>
                          <a:pt x="165" y="55"/>
                          <a:pt x="165" y="55"/>
                        </a:cubicBezTo>
                        <a:cubicBezTo>
                          <a:pt x="165" y="53"/>
                          <a:pt x="165" y="53"/>
                          <a:pt x="165" y="53"/>
                        </a:cubicBezTo>
                        <a:cubicBezTo>
                          <a:pt x="166" y="52"/>
                          <a:pt x="167" y="52"/>
                          <a:pt x="168" y="51"/>
                        </a:cubicBezTo>
                        <a:cubicBezTo>
                          <a:pt x="169" y="50"/>
                          <a:pt x="169" y="50"/>
                          <a:pt x="169" y="50"/>
                        </a:cubicBezTo>
                        <a:cubicBezTo>
                          <a:pt x="169" y="48"/>
                          <a:pt x="170" y="46"/>
                          <a:pt x="172" y="45"/>
                        </a:cubicBezTo>
                        <a:cubicBezTo>
                          <a:pt x="173" y="44"/>
                          <a:pt x="174" y="43"/>
                          <a:pt x="175" y="43"/>
                        </a:cubicBezTo>
                        <a:cubicBezTo>
                          <a:pt x="176" y="41"/>
                          <a:pt x="177" y="40"/>
                          <a:pt x="178" y="39"/>
                        </a:cubicBezTo>
                        <a:cubicBezTo>
                          <a:pt x="179" y="38"/>
                          <a:pt x="179" y="37"/>
                          <a:pt x="180" y="36"/>
                        </a:cubicBezTo>
                        <a:cubicBezTo>
                          <a:pt x="178" y="36"/>
                          <a:pt x="178" y="35"/>
                          <a:pt x="177" y="34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1" name="Freeform 353">
                    <a:extLst>
                      <a:ext uri="{FF2B5EF4-FFF2-40B4-BE49-F238E27FC236}">
                        <a16:creationId xmlns:a16="http://schemas.microsoft.com/office/drawing/2014/main" xmlns="" id="{E51A5C6F-2438-457E-B11C-352555FABFE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54651" y="2895601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2" name="Freeform 354">
                    <a:extLst>
                      <a:ext uri="{FF2B5EF4-FFF2-40B4-BE49-F238E27FC236}">
                        <a16:creationId xmlns:a16="http://schemas.microsoft.com/office/drawing/2014/main" xmlns="" id="{9B6E081B-2702-44C4-8CEE-89359AAB28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95626" y="4830763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3" name="Freeform 355">
                    <a:extLst>
                      <a:ext uri="{FF2B5EF4-FFF2-40B4-BE49-F238E27FC236}">
                        <a16:creationId xmlns:a16="http://schemas.microsoft.com/office/drawing/2014/main" xmlns="" id="{BD61ED4F-CAEC-4EF5-9041-5AFE9FE90AE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98801" y="4830763"/>
                    <a:ext cx="3175" cy="3175"/>
                  </a:xfrm>
                  <a:custGeom>
                    <a:avLst/>
                    <a:gdLst>
                      <a:gd name="T0" fmla="*/ 1 w 1"/>
                      <a:gd name="T1" fmla="*/ 1 h 1"/>
                      <a:gd name="T2" fmla="*/ 0 w 1"/>
                      <a:gd name="T3" fmla="*/ 0 h 1"/>
                      <a:gd name="T4" fmla="*/ 1 w 1"/>
                      <a:gd name="T5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" h="1">
                        <a:moveTo>
                          <a:pt x="1" y="1"/>
                        </a:moveTo>
                        <a:cubicBezTo>
                          <a:pt x="0" y="1"/>
                          <a:pt x="0" y="1"/>
                          <a:pt x="0" y="0"/>
                        </a:cubicBezTo>
                        <a:cubicBezTo>
                          <a:pt x="0" y="1"/>
                          <a:pt x="0" y="1"/>
                          <a:pt x="1" y="1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4" name="Freeform 356">
                    <a:extLst>
                      <a:ext uri="{FF2B5EF4-FFF2-40B4-BE49-F238E27FC236}">
                        <a16:creationId xmlns:a16="http://schemas.microsoft.com/office/drawing/2014/main" xmlns="" id="{DDF2BF8E-50BF-428B-B220-5D98D23C027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89276" y="4826001"/>
                    <a:ext cx="3175" cy="0"/>
                  </a:xfrm>
                  <a:custGeom>
                    <a:avLst/>
                    <a:gdLst>
                      <a:gd name="T0" fmla="*/ 0 w 1"/>
                      <a:gd name="T1" fmla="*/ 1 w 1"/>
                      <a:gd name="T2" fmla="*/ 0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1">
                        <a:moveTo>
                          <a:pt x="0" y="0"/>
                        </a:moveTo>
                        <a:cubicBezTo>
                          <a:pt x="1" y="0"/>
                          <a:pt x="1" y="0"/>
                          <a:pt x="1" y="0"/>
                        </a:cubicBezTo>
                        <a:cubicBezTo>
                          <a:pt x="1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5" name="Freeform 357">
                    <a:extLst>
                      <a:ext uri="{FF2B5EF4-FFF2-40B4-BE49-F238E27FC236}">
                        <a16:creationId xmlns:a16="http://schemas.microsoft.com/office/drawing/2014/main" xmlns="" id="{39D4059D-A182-4BB1-9CA3-8F4CB3F794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97188" y="3754438"/>
                    <a:ext cx="1400175" cy="1071563"/>
                  </a:xfrm>
                  <a:custGeom>
                    <a:avLst/>
                    <a:gdLst>
                      <a:gd name="T0" fmla="*/ 373 w 396"/>
                      <a:gd name="T1" fmla="*/ 119 h 303"/>
                      <a:gd name="T2" fmla="*/ 372 w 396"/>
                      <a:gd name="T3" fmla="*/ 98 h 303"/>
                      <a:gd name="T4" fmla="*/ 380 w 396"/>
                      <a:gd name="T5" fmla="*/ 65 h 303"/>
                      <a:gd name="T6" fmla="*/ 386 w 396"/>
                      <a:gd name="T7" fmla="*/ 49 h 303"/>
                      <a:gd name="T8" fmla="*/ 354 w 396"/>
                      <a:gd name="T9" fmla="*/ 35 h 303"/>
                      <a:gd name="T10" fmla="*/ 315 w 396"/>
                      <a:gd name="T11" fmla="*/ 28 h 303"/>
                      <a:gd name="T12" fmla="*/ 283 w 396"/>
                      <a:gd name="T13" fmla="*/ 31 h 303"/>
                      <a:gd name="T14" fmla="*/ 245 w 396"/>
                      <a:gd name="T15" fmla="*/ 36 h 303"/>
                      <a:gd name="T16" fmla="*/ 242 w 396"/>
                      <a:gd name="T17" fmla="*/ 29 h 303"/>
                      <a:gd name="T18" fmla="*/ 202 w 396"/>
                      <a:gd name="T19" fmla="*/ 27 h 303"/>
                      <a:gd name="T20" fmla="*/ 187 w 396"/>
                      <a:gd name="T21" fmla="*/ 43 h 303"/>
                      <a:gd name="T22" fmla="*/ 166 w 396"/>
                      <a:gd name="T23" fmla="*/ 33 h 303"/>
                      <a:gd name="T24" fmla="*/ 116 w 396"/>
                      <a:gd name="T25" fmla="*/ 17 h 303"/>
                      <a:gd name="T26" fmla="*/ 77 w 396"/>
                      <a:gd name="T27" fmla="*/ 4 h 303"/>
                      <a:gd name="T28" fmla="*/ 66 w 396"/>
                      <a:gd name="T29" fmla="*/ 17 h 303"/>
                      <a:gd name="T30" fmla="*/ 72 w 396"/>
                      <a:gd name="T31" fmla="*/ 27 h 303"/>
                      <a:gd name="T32" fmla="*/ 52 w 396"/>
                      <a:gd name="T33" fmla="*/ 40 h 303"/>
                      <a:gd name="T34" fmla="*/ 54 w 396"/>
                      <a:gd name="T35" fmla="*/ 65 h 303"/>
                      <a:gd name="T36" fmla="*/ 41 w 396"/>
                      <a:gd name="T37" fmla="*/ 69 h 303"/>
                      <a:gd name="T38" fmla="*/ 18 w 396"/>
                      <a:gd name="T39" fmla="*/ 79 h 303"/>
                      <a:gd name="T40" fmla="*/ 5 w 396"/>
                      <a:gd name="T41" fmla="*/ 89 h 303"/>
                      <a:gd name="T42" fmla="*/ 1 w 396"/>
                      <a:gd name="T43" fmla="*/ 111 h 303"/>
                      <a:gd name="T44" fmla="*/ 4 w 396"/>
                      <a:gd name="T45" fmla="*/ 120 h 303"/>
                      <a:gd name="T46" fmla="*/ 4 w 396"/>
                      <a:gd name="T47" fmla="*/ 139 h 303"/>
                      <a:gd name="T48" fmla="*/ 10 w 396"/>
                      <a:gd name="T49" fmla="*/ 135 h 303"/>
                      <a:gd name="T50" fmla="*/ 7 w 396"/>
                      <a:gd name="T51" fmla="*/ 145 h 303"/>
                      <a:gd name="T52" fmla="*/ 7 w 396"/>
                      <a:gd name="T53" fmla="*/ 159 h 303"/>
                      <a:gd name="T54" fmla="*/ 9 w 396"/>
                      <a:gd name="T55" fmla="*/ 170 h 303"/>
                      <a:gd name="T56" fmla="*/ 8 w 396"/>
                      <a:gd name="T57" fmla="*/ 180 h 303"/>
                      <a:gd name="T58" fmla="*/ 13 w 396"/>
                      <a:gd name="T59" fmla="*/ 218 h 303"/>
                      <a:gd name="T60" fmla="*/ 15 w 396"/>
                      <a:gd name="T61" fmla="*/ 234 h 303"/>
                      <a:gd name="T62" fmla="*/ 18 w 396"/>
                      <a:gd name="T63" fmla="*/ 265 h 303"/>
                      <a:gd name="T64" fmla="*/ 24 w 396"/>
                      <a:gd name="T65" fmla="*/ 286 h 303"/>
                      <a:gd name="T66" fmla="*/ 43 w 396"/>
                      <a:gd name="T67" fmla="*/ 301 h 303"/>
                      <a:gd name="T68" fmla="*/ 60 w 396"/>
                      <a:gd name="T69" fmla="*/ 296 h 303"/>
                      <a:gd name="T70" fmla="*/ 71 w 396"/>
                      <a:gd name="T71" fmla="*/ 282 h 303"/>
                      <a:gd name="T72" fmla="*/ 67 w 396"/>
                      <a:gd name="T73" fmla="*/ 258 h 303"/>
                      <a:gd name="T74" fmla="*/ 91 w 396"/>
                      <a:gd name="T75" fmla="*/ 251 h 303"/>
                      <a:gd name="T76" fmla="*/ 114 w 396"/>
                      <a:gd name="T77" fmla="*/ 242 h 303"/>
                      <a:gd name="T78" fmla="*/ 136 w 396"/>
                      <a:gd name="T79" fmla="*/ 230 h 303"/>
                      <a:gd name="T80" fmla="*/ 158 w 396"/>
                      <a:gd name="T81" fmla="*/ 225 h 303"/>
                      <a:gd name="T82" fmla="*/ 172 w 396"/>
                      <a:gd name="T83" fmla="*/ 217 h 303"/>
                      <a:gd name="T84" fmla="*/ 193 w 396"/>
                      <a:gd name="T85" fmla="*/ 207 h 303"/>
                      <a:gd name="T86" fmla="*/ 203 w 396"/>
                      <a:gd name="T87" fmla="*/ 199 h 303"/>
                      <a:gd name="T88" fmla="*/ 226 w 396"/>
                      <a:gd name="T89" fmla="*/ 179 h 303"/>
                      <a:gd name="T90" fmla="*/ 232 w 396"/>
                      <a:gd name="T91" fmla="*/ 171 h 303"/>
                      <a:gd name="T92" fmla="*/ 248 w 396"/>
                      <a:gd name="T93" fmla="*/ 154 h 303"/>
                      <a:gd name="T94" fmla="*/ 263 w 396"/>
                      <a:gd name="T95" fmla="*/ 138 h 303"/>
                      <a:gd name="T96" fmla="*/ 270 w 396"/>
                      <a:gd name="T97" fmla="*/ 117 h 303"/>
                      <a:gd name="T98" fmla="*/ 297 w 396"/>
                      <a:gd name="T99" fmla="*/ 113 h 303"/>
                      <a:gd name="T100" fmla="*/ 308 w 396"/>
                      <a:gd name="T101" fmla="*/ 127 h 303"/>
                      <a:gd name="T102" fmla="*/ 322 w 396"/>
                      <a:gd name="T103" fmla="*/ 124 h 303"/>
                      <a:gd name="T104" fmla="*/ 333 w 396"/>
                      <a:gd name="T105" fmla="*/ 125 h 303"/>
                      <a:gd name="T106" fmla="*/ 347 w 396"/>
                      <a:gd name="T107" fmla="*/ 148 h 303"/>
                      <a:gd name="T108" fmla="*/ 362 w 396"/>
                      <a:gd name="T109" fmla="*/ 170 h 303"/>
                      <a:gd name="T110" fmla="*/ 369 w 396"/>
                      <a:gd name="T111" fmla="*/ 145 h 303"/>
                      <a:gd name="T112" fmla="*/ 393 w 396"/>
                      <a:gd name="T113" fmla="*/ 140 h 3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396" h="303">
                        <a:moveTo>
                          <a:pt x="395" y="132"/>
                        </a:moveTo>
                        <a:cubicBezTo>
                          <a:pt x="394" y="129"/>
                          <a:pt x="390" y="130"/>
                          <a:pt x="387" y="129"/>
                        </a:cubicBezTo>
                        <a:cubicBezTo>
                          <a:pt x="387" y="129"/>
                          <a:pt x="387" y="128"/>
                          <a:pt x="387" y="127"/>
                        </a:cubicBezTo>
                        <a:cubicBezTo>
                          <a:pt x="383" y="127"/>
                          <a:pt x="384" y="125"/>
                          <a:pt x="383" y="122"/>
                        </a:cubicBezTo>
                        <a:cubicBezTo>
                          <a:pt x="381" y="121"/>
                          <a:pt x="382" y="118"/>
                          <a:pt x="380" y="117"/>
                        </a:cubicBezTo>
                        <a:cubicBezTo>
                          <a:pt x="377" y="115"/>
                          <a:pt x="375" y="118"/>
                          <a:pt x="373" y="119"/>
                        </a:cubicBezTo>
                        <a:cubicBezTo>
                          <a:pt x="372" y="117"/>
                          <a:pt x="374" y="117"/>
                          <a:pt x="375" y="115"/>
                        </a:cubicBezTo>
                        <a:cubicBezTo>
                          <a:pt x="375" y="113"/>
                          <a:pt x="373" y="112"/>
                          <a:pt x="374" y="111"/>
                        </a:cubicBezTo>
                        <a:cubicBezTo>
                          <a:pt x="378" y="111"/>
                          <a:pt x="378" y="110"/>
                          <a:pt x="379" y="106"/>
                        </a:cubicBezTo>
                        <a:cubicBezTo>
                          <a:pt x="379" y="103"/>
                          <a:pt x="377" y="102"/>
                          <a:pt x="375" y="100"/>
                        </a:cubicBezTo>
                        <a:cubicBezTo>
                          <a:pt x="374" y="101"/>
                          <a:pt x="373" y="102"/>
                          <a:pt x="372" y="102"/>
                        </a:cubicBezTo>
                        <a:cubicBezTo>
                          <a:pt x="372" y="100"/>
                          <a:pt x="372" y="99"/>
                          <a:pt x="372" y="98"/>
                        </a:cubicBezTo>
                        <a:cubicBezTo>
                          <a:pt x="373" y="96"/>
                          <a:pt x="374" y="96"/>
                          <a:pt x="374" y="94"/>
                        </a:cubicBezTo>
                        <a:cubicBezTo>
                          <a:pt x="374" y="96"/>
                          <a:pt x="381" y="93"/>
                          <a:pt x="381" y="92"/>
                        </a:cubicBezTo>
                        <a:cubicBezTo>
                          <a:pt x="382" y="90"/>
                          <a:pt x="382" y="87"/>
                          <a:pt x="382" y="85"/>
                        </a:cubicBezTo>
                        <a:cubicBezTo>
                          <a:pt x="382" y="83"/>
                          <a:pt x="383" y="81"/>
                          <a:pt x="383" y="79"/>
                        </a:cubicBezTo>
                        <a:cubicBezTo>
                          <a:pt x="381" y="79"/>
                          <a:pt x="379" y="81"/>
                          <a:pt x="378" y="80"/>
                        </a:cubicBezTo>
                        <a:cubicBezTo>
                          <a:pt x="377" y="75"/>
                          <a:pt x="384" y="70"/>
                          <a:pt x="380" y="65"/>
                        </a:cubicBezTo>
                        <a:cubicBezTo>
                          <a:pt x="379" y="63"/>
                          <a:pt x="376" y="64"/>
                          <a:pt x="375" y="62"/>
                        </a:cubicBezTo>
                        <a:cubicBezTo>
                          <a:pt x="375" y="60"/>
                          <a:pt x="375" y="58"/>
                          <a:pt x="375" y="56"/>
                        </a:cubicBezTo>
                        <a:cubicBezTo>
                          <a:pt x="375" y="55"/>
                          <a:pt x="374" y="54"/>
                          <a:pt x="374" y="52"/>
                        </a:cubicBezTo>
                        <a:cubicBezTo>
                          <a:pt x="376" y="52"/>
                          <a:pt x="377" y="52"/>
                          <a:pt x="377" y="54"/>
                        </a:cubicBezTo>
                        <a:cubicBezTo>
                          <a:pt x="379" y="55"/>
                          <a:pt x="380" y="52"/>
                          <a:pt x="382" y="52"/>
                        </a:cubicBezTo>
                        <a:cubicBezTo>
                          <a:pt x="383" y="52"/>
                          <a:pt x="385" y="51"/>
                          <a:pt x="386" y="49"/>
                        </a:cubicBezTo>
                        <a:cubicBezTo>
                          <a:pt x="387" y="45"/>
                          <a:pt x="383" y="45"/>
                          <a:pt x="380" y="44"/>
                        </a:cubicBezTo>
                        <a:cubicBezTo>
                          <a:pt x="375" y="44"/>
                          <a:pt x="372" y="40"/>
                          <a:pt x="371" y="36"/>
                        </a:cubicBezTo>
                        <a:cubicBezTo>
                          <a:pt x="370" y="34"/>
                          <a:pt x="367" y="34"/>
                          <a:pt x="367" y="33"/>
                        </a:cubicBezTo>
                        <a:cubicBezTo>
                          <a:pt x="365" y="33"/>
                          <a:pt x="364" y="33"/>
                          <a:pt x="363" y="32"/>
                        </a:cubicBezTo>
                        <a:cubicBezTo>
                          <a:pt x="362" y="31"/>
                          <a:pt x="361" y="32"/>
                          <a:pt x="360" y="32"/>
                        </a:cubicBezTo>
                        <a:cubicBezTo>
                          <a:pt x="358" y="34"/>
                          <a:pt x="357" y="35"/>
                          <a:pt x="354" y="35"/>
                        </a:cubicBezTo>
                        <a:cubicBezTo>
                          <a:pt x="351" y="35"/>
                          <a:pt x="348" y="35"/>
                          <a:pt x="346" y="34"/>
                        </a:cubicBezTo>
                        <a:cubicBezTo>
                          <a:pt x="342" y="32"/>
                          <a:pt x="340" y="32"/>
                          <a:pt x="336" y="32"/>
                        </a:cubicBezTo>
                        <a:cubicBezTo>
                          <a:pt x="335" y="33"/>
                          <a:pt x="329" y="34"/>
                          <a:pt x="329" y="32"/>
                        </a:cubicBezTo>
                        <a:cubicBezTo>
                          <a:pt x="329" y="29"/>
                          <a:pt x="326" y="28"/>
                          <a:pt x="324" y="28"/>
                        </a:cubicBezTo>
                        <a:cubicBezTo>
                          <a:pt x="320" y="28"/>
                          <a:pt x="321" y="26"/>
                          <a:pt x="319" y="25"/>
                        </a:cubicBezTo>
                        <a:cubicBezTo>
                          <a:pt x="316" y="23"/>
                          <a:pt x="316" y="27"/>
                          <a:pt x="315" y="28"/>
                        </a:cubicBezTo>
                        <a:cubicBezTo>
                          <a:pt x="314" y="28"/>
                          <a:pt x="313" y="28"/>
                          <a:pt x="312" y="29"/>
                        </a:cubicBezTo>
                        <a:cubicBezTo>
                          <a:pt x="312" y="29"/>
                          <a:pt x="312" y="30"/>
                          <a:pt x="312" y="30"/>
                        </a:cubicBezTo>
                        <a:cubicBezTo>
                          <a:pt x="309" y="30"/>
                          <a:pt x="306" y="29"/>
                          <a:pt x="303" y="29"/>
                        </a:cubicBezTo>
                        <a:cubicBezTo>
                          <a:pt x="303" y="31"/>
                          <a:pt x="303" y="32"/>
                          <a:pt x="303" y="34"/>
                        </a:cubicBezTo>
                        <a:cubicBezTo>
                          <a:pt x="299" y="34"/>
                          <a:pt x="294" y="37"/>
                          <a:pt x="290" y="35"/>
                        </a:cubicBezTo>
                        <a:cubicBezTo>
                          <a:pt x="288" y="34"/>
                          <a:pt x="286" y="30"/>
                          <a:pt x="283" y="31"/>
                        </a:cubicBezTo>
                        <a:cubicBezTo>
                          <a:pt x="282" y="32"/>
                          <a:pt x="280" y="34"/>
                          <a:pt x="279" y="32"/>
                        </a:cubicBezTo>
                        <a:cubicBezTo>
                          <a:pt x="278" y="30"/>
                          <a:pt x="279" y="29"/>
                          <a:pt x="279" y="27"/>
                        </a:cubicBezTo>
                        <a:cubicBezTo>
                          <a:pt x="277" y="27"/>
                          <a:pt x="277" y="29"/>
                          <a:pt x="276" y="30"/>
                        </a:cubicBezTo>
                        <a:cubicBezTo>
                          <a:pt x="274" y="31"/>
                          <a:pt x="273" y="29"/>
                          <a:pt x="271" y="29"/>
                        </a:cubicBezTo>
                        <a:cubicBezTo>
                          <a:pt x="268" y="27"/>
                          <a:pt x="265" y="30"/>
                          <a:pt x="264" y="33"/>
                        </a:cubicBezTo>
                        <a:cubicBezTo>
                          <a:pt x="257" y="34"/>
                          <a:pt x="252" y="37"/>
                          <a:pt x="245" y="36"/>
                        </a:cubicBezTo>
                        <a:cubicBezTo>
                          <a:pt x="242" y="35"/>
                          <a:pt x="241" y="36"/>
                          <a:pt x="240" y="34"/>
                        </a:cubicBezTo>
                        <a:cubicBezTo>
                          <a:pt x="238" y="32"/>
                          <a:pt x="236" y="35"/>
                          <a:pt x="236" y="36"/>
                        </a:cubicBezTo>
                        <a:cubicBezTo>
                          <a:pt x="234" y="36"/>
                          <a:pt x="233" y="30"/>
                          <a:pt x="232" y="28"/>
                        </a:cubicBezTo>
                        <a:cubicBezTo>
                          <a:pt x="234" y="28"/>
                          <a:pt x="237" y="29"/>
                          <a:pt x="239" y="28"/>
                        </a:cubicBezTo>
                        <a:cubicBezTo>
                          <a:pt x="239" y="29"/>
                          <a:pt x="239" y="30"/>
                          <a:pt x="239" y="30"/>
                        </a:cubicBezTo>
                        <a:cubicBezTo>
                          <a:pt x="240" y="30"/>
                          <a:pt x="241" y="29"/>
                          <a:pt x="242" y="29"/>
                        </a:cubicBezTo>
                        <a:cubicBezTo>
                          <a:pt x="239" y="26"/>
                          <a:pt x="238" y="19"/>
                          <a:pt x="234" y="18"/>
                        </a:cubicBezTo>
                        <a:cubicBezTo>
                          <a:pt x="229" y="17"/>
                          <a:pt x="227" y="19"/>
                          <a:pt x="224" y="22"/>
                        </a:cubicBezTo>
                        <a:cubicBezTo>
                          <a:pt x="223" y="22"/>
                          <a:pt x="221" y="22"/>
                          <a:pt x="220" y="23"/>
                        </a:cubicBezTo>
                        <a:cubicBezTo>
                          <a:pt x="220" y="20"/>
                          <a:pt x="215" y="21"/>
                          <a:pt x="214" y="21"/>
                        </a:cubicBezTo>
                        <a:cubicBezTo>
                          <a:pt x="210" y="22"/>
                          <a:pt x="208" y="23"/>
                          <a:pt x="205" y="24"/>
                        </a:cubicBezTo>
                        <a:cubicBezTo>
                          <a:pt x="205" y="26"/>
                          <a:pt x="204" y="27"/>
                          <a:pt x="202" y="27"/>
                        </a:cubicBezTo>
                        <a:cubicBezTo>
                          <a:pt x="203" y="28"/>
                          <a:pt x="203" y="31"/>
                          <a:pt x="201" y="32"/>
                        </a:cubicBezTo>
                        <a:cubicBezTo>
                          <a:pt x="199" y="32"/>
                          <a:pt x="198" y="32"/>
                          <a:pt x="198" y="34"/>
                        </a:cubicBezTo>
                        <a:cubicBezTo>
                          <a:pt x="196" y="34"/>
                          <a:pt x="195" y="36"/>
                          <a:pt x="193" y="38"/>
                        </a:cubicBezTo>
                        <a:cubicBezTo>
                          <a:pt x="196" y="38"/>
                          <a:pt x="197" y="39"/>
                          <a:pt x="196" y="41"/>
                        </a:cubicBezTo>
                        <a:cubicBezTo>
                          <a:pt x="194" y="41"/>
                          <a:pt x="193" y="43"/>
                          <a:pt x="192" y="43"/>
                        </a:cubicBezTo>
                        <a:cubicBezTo>
                          <a:pt x="190" y="44"/>
                          <a:pt x="188" y="43"/>
                          <a:pt x="187" y="43"/>
                        </a:cubicBezTo>
                        <a:cubicBezTo>
                          <a:pt x="186" y="45"/>
                          <a:pt x="187" y="47"/>
                          <a:pt x="185" y="47"/>
                        </a:cubicBezTo>
                        <a:cubicBezTo>
                          <a:pt x="184" y="47"/>
                          <a:pt x="182" y="47"/>
                          <a:pt x="181" y="47"/>
                        </a:cubicBezTo>
                        <a:cubicBezTo>
                          <a:pt x="179" y="47"/>
                          <a:pt x="173" y="48"/>
                          <a:pt x="173" y="45"/>
                        </a:cubicBezTo>
                        <a:cubicBezTo>
                          <a:pt x="173" y="45"/>
                          <a:pt x="173" y="45"/>
                          <a:pt x="173" y="45"/>
                        </a:cubicBezTo>
                        <a:cubicBezTo>
                          <a:pt x="174" y="43"/>
                          <a:pt x="173" y="35"/>
                          <a:pt x="171" y="34"/>
                        </a:cubicBezTo>
                        <a:cubicBezTo>
                          <a:pt x="170" y="34"/>
                          <a:pt x="167" y="34"/>
                          <a:pt x="166" y="33"/>
                        </a:cubicBezTo>
                        <a:cubicBezTo>
                          <a:pt x="165" y="30"/>
                          <a:pt x="164" y="31"/>
                          <a:pt x="161" y="31"/>
                        </a:cubicBezTo>
                        <a:cubicBezTo>
                          <a:pt x="156" y="31"/>
                          <a:pt x="150" y="33"/>
                          <a:pt x="145" y="31"/>
                        </a:cubicBezTo>
                        <a:cubicBezTo>
                          <a:pt x="143" y="30"/>
                          <a:pt x="141" y="30"/>
                          <a:pt x="139" y="31"/>
                        </a:cubicBezTo>
                        <a:cubicBezTo>
                          <a:pt x="137" y="31"/>
                          <a:pt x="135" y="30"/>
                          <a:pt x="133" y="30"/>
                        </a:cubicBezTo>
                        <a:cubicBezTo>
                          <a:pt x="128" y="30"/>
                          <a:pt x="127" y="28"/>
                          <a:pt x="125" y="24"/>
                        </a:cubicBezTo>
                        <a:cubicBezTo>
                          <a:pt x="123" y="19"/>
                          <a:pt x="121" y="18"/>
                          <a:pt x="116" y="17"/>
                        </a:cubicBezTo>
                        <a:cubicBezTo>
                          <a:pt x="112" y="17"/>
                          <a:pt x="106" y="20"/>
                          <a:pt x="102" y="17"/>
                        </a:cubicBezTo>
                        <a:cubicBezTo>
                          <a:pt x="99" y="13"/>
                          <a:pt x="100" y="9"/>
                          <a:pt x="99" y="5"/>
                        </a:cubicBezTo>
                        <a:cubicBezTo>
                          <a:pt x="93" y="0"/>
                          <a:pt x="93" y="0"/>
                          <a:pt x="93" y="0"/>
                        </a:cubicBezTo>
                        <a:cubicBezTo>
                          <a:pt x="90" y="0"/>
                          <a:pt x="91" y="6"/>
                          <a:pt x="86" y="4"/>
                        </a:cubicBezTo>
                        <a:cubicBezTo>
                          <a:pt x="84" y="3"/>
                          <a:pt x="82" y="2"/>
                          <a:pt x="80" y="2"/>
                        </a:cubicBezTo>
                        <a:cubicBezTo>
                          <a:pt x="79" y="2"/>
                          <a:pt x="78" y="4"/>
                          <a:pt x="77" y="4"/>
                        </a:cubicBezTo>
                        <a:cubicBezTo>
                          <a:pt x="76" y="4"/>
                          <a:pt x="75" y="4"/>
                          <a:pt x="74" y="4"/>
                        </a:cubicBezTo>
                        <a:cubicBezTo>
                          <a:pt x="72" y="4"/>
                          <a:pt x="72" y="7"/>
                          <a:pt x="70" y="7"/>
                        </a:cubicBezTo>
                        <a:cubicBezTo>
                          <a:pt x="68" y="8"/>
                          <a:pt x="67" y="7"/>
                          <a:pt x="65" y="7"/>
                        </a:cubicBezTo>
                        <a:cubicBezTo>
                          <a:pt x="64" y="9"/>
                          <a:pt x="67" y="9"/>
                          <a:pt x="68" y="10"/>
                        </a:cubicBezTo>
                        <a:cubicBezTo>
                          <a:pt x="68" y="11"/>
                          <a:pt x="68" y="12"/>
                          <a:pt x="68" y="14"/>
                        </a:cubicBezTo>
                        <a:cubicBezTo>
                          <a:pt x="67" y="14"/>
                          <a:pt x="65" y="16"/>
                          <a:pt x="66" y="17"/>
                        </a:cubicBezTo>
                        <a:cubicBezTo>
                          <a:pt x="69" y="17"/>
                          <a:pt x="67" y="26"/>
                          <a:pt x="73" y="21"/>
                        </a:cubicBezTo>
                        <a:cubicBezTo>
                          <a:pt x="78" y="17"/>
                          <a:pt x="85" y="21"/>
                          <a:pt x="89" y="24"/>
                        </a:cubicBezTo>
                        <a:cubicBezTo>
                          <a:pt x="87" y="24"/>
                          <a:pt x="86" y="25"/>
                          <a:pt x="84" y="25"/>
                        </a:cubicBezTo>
                        <a:cubicBezTo>
                          <a:pt x="82" y="25"/>
                          <a:pt x="80" y="24"/>
                          <a:pt x="79" y="25"/>
                        </a:cubicBezTo>
                        <a:cubicBezTo>
                          <a:pt x="78" y="25"/>
                          <a:pt x="77" y="26"/>
                          <a:pt x="77" y="27"/>
                        </a:cubicBezTo>
                        <a:cubicBezTo>
                          <a:pt x="76" y="28"/>
                          <a:pt x="74" y="27"/>
                          <a:pt x="72" y="27"/>
                        </a:cubicBezTo>
                        <a:cubicBezTo>
                          <a:pt x="72" y="28"/>
                          <a:pt x="72" y="29"/>
                          <a:pt x="72" y="30"/>
                        </a:cubicBezTo>
                        <a:cubicBezTo>
                          <a:pt x="70" y="30"/>
                          <a:pt x="66" y="29"/>
                          <a:pt x="64" y="32"/>
                        </a:cubicBezTo>
                        <a:cubicBezTo>
                          <a:pt x="63" y="33"/>
                          <a:pt x="65" y="36"/>
                          <a:pt x="62" y="36"/>
                        </a:cubicBezTo>
                        <a:cubicBezTo>
                          <a:pt x="61" y="37"/>
                          <a:pt x="60" y="38"/>
                          <a:pt x="59" y="38"/>
                        </a:cubicBezTo>
                        <a:cubicBezTo>
                          <a:pt x="56" y="38"/>
                          <a:pt x="54" y="38"/>
                          <a:pt x="52" y="38"/>
                        </a:cubicBezTo>
                        <a:cubicBezTo>
                          <a:pt x="52" y="40"/>
                          <a:pt x="52" y="40"/>
                          <a:pt x="52" y="40"/>
                        </a:cubicBezTo>
                        <a:cubicBezTo>
                          <a:pt x="53" y="40"/>
                          <a:pt x="55" y="40"/>
                          <a:pt x="55" y="40"/>
                        </a:cubicBezTo>
                        <a:cubicBezTo>
                          <a:pt x="59" y="40"/>
                          <a:pt x="59" y="41"/>
                          <a:pt x="61" y="43"/>
                        </a:cubicBezTo>
                        <a:cubicBezTo>
                          <a:pt x="66" y="47"/>
                          <a:pt x="67" y="51"/>
                          <a:pt x="66" y="57"/>
                        </a:cubicBezTo>
                        <a:cubicBezTo>
                          <a:pt x="65" y="57"/>
                          <a:pt x="60" y="57"/>
                          <a:pt x="60" y="58"/>
                        </a:cubicBezTo>
                        <a:cubicBezTo>
                          <a:pt x="60" y="59"/>
                          <a:pt x="62" y="60"/>
                          <a:pt x="62" y="61"/>
                        </a:cubicBezTo>
                        <a:cubicBezTo>
                          <a:pt x="61" y="65"/>
                          <a:pt x="55" y="62"/>
                          <a:pt x="54" y="65"/>
                        </a:cubicBezTo>
                        <a:cubicBezTo>
                          <a:pt x="53" y="64"/>
                          <a:pt x="53" y="63"/>
                          <a:pt x="51" y="63"/>
                        </a:cubicBezTo>
                        <a:cubicBezTo>
                          <a:pt x="51" y="62"/>
                          <a:pt x="51" y="61"/>
                          <a:pt x="51" y="60"/>
                        </a:cubicBezTo>
                        <a:cubicBezTo>
                          <a:pt x="49" y="60"/>
                          <a:pt x="47" y="60"/>
                          <a:pt x="45" y="59"/>
                        </a:cubicBezTo>
                        <a:cubicBezTo>
                          <a:pt x="44" y="57"/>
                          <a:pt x="44" y="56"/>
                          <a:pt x="42" y="56"/>
                        </a:cubicBezTo>
                        <a:cubicBezTo>
                          <a:pt x="41" y="57"/>
                          <a:pt x="41" y="58"/>
                          <a:pt x="40" y="59"/>
                        </a:cubicBezTo>
                        <a:cubicBezTo>
                          <a:pt x="45" y="60"/>
                          <a:pt x="41" y="67"/>
                          <a:pt x="41" y="69"/>
                        </a:cubicBezTo>
                        <a:cubicBezTo>
                          <a:pt x="40" y="71"/>
                          <a:pt x="42" y="74"/>
                          <a:pt x="40" y="75"/>
                        </a:cubicBezTo>
                        <a:cubicBezTo>
                          <a:pt x="37" y="76"/>
                          <a:pt x="38" y="80"/>
                          <a:pt x="38" y="81"/>
                        </a:cubicBezTo>
                        <a:cubicBezTo>
                          <a:pt x="37" y="82"/>
                          <a:pt x="36" y="81"/>
                          <a:pt x="34" y="81"/>
                        </a:cubicBezTo>
                        <a:cubicBezTo>
                          <a:pt x="34" y="81"/>
                          <a:pt x="34" y="83"/>
                          <a:pt x="33" y="83"/>
                        </a:cubicBezTo>
                        <a:cubicBezTo>
                          <a:pt x="32" y="84"/>
                          <a:pt x="30" y="83"/>
                          <a:pt x="29" y="83"/>
                        </a:cubicBezTo>
                        <a:cubicBezTo>
                          <a:pt x="18" y="79"/>
                          <a:pt x="18" y="79"/>
                          <a:pt x="18" y="79"/>
                        </a:cubicBezTo>
                        <a:cubicBezTo>
                          <a:pt x="17" y="78"/>
                          <a:pt x="15" y="78"/>
                          <a:pt x="14" y="78"/>
                        </a:cubicBezTo>
                        <a:cubicBezTo>
                          <a:pt x="12" y="79"/>
                          <a:pt x="11" y="80"/>
                          <a:pt x="11" y="82"/>
                        </a:cubicBezTo>
                        <a:cubicBezTo>
                          <a:pt x="9" y="82"/>
                          <a:pt x="8" y="82"/>
                          <a:pt x="6" y="81"/>
                        </a:cubicBezTo>
                        <a:cubicBezTo>
                          <a:pt x="6" y="82"/>
                          <a:pt x="5" y="82"/>
                          <a:pt x="4" y="83"/>
                        </a:cubicBezTo>
                        <a:cubicBezTo>
                          <a:pt x="2" y="86"/>
                          <a:pt x="7" y="88"/>
                          <a:pt x="7" y="91"/>
                        </a:cubicBezTo>
                        <a:cubicBezTo>
                          <a:pt x="6" y="90"/>
                          <a:pt x="5" y="90"/>
                          <a:pt x="5" y="89"/>
                        </a:cubicBezTo>
                        <a:cubicBezTo>
                          <a:pt x="4" y="88"/>
                          <a:pt x="3" y="88"/>
                          <a:pt x="2" y="89"/>
                        </a:cubicBezTo>
                        <a:cubicBezTo>
                          <a:pt x="1" y="90"/>
                          <a:pt x="2" y="91"/>
                          <a:pt x="3" y="92"/>
                        </a:cubicBezTo>
                        <a:cubicBezTo>
                          <a:pt x="3" y="92"/>
                          <a:pt x="5" y="95"/>
                          <a:pt x="4" y="95"/>
                        </a:cubicBezTo>
                        <a:cubicBezTo>
                          <a:pt x="4" y="95"/>
                          <a:pt x="3" y="95"/>
                          <a:pt x="2" y="95"/>
                        </a:cubicBezTo>
                        <a:cubicBezTo>
                          <a:pt x="2" y="97"/>
                          <a:pt x="1" y="99"/>
                          <a:pt x="1" y="102"/>
                        </a:cubicBezTo>
                        <a:cubicBezTo>
                          <a:pt x="5" y="101"/>
                          <a:pt x="0" y="110"/>
                          <a:pt x="1" y="111"/>
                        </a:cubicBezTo>
                        <a:cubicBezTo>
                          <a:pt x="2" y="111"/>
                          <a:pt x="3" y="111"/>
                          <a:pt x="4" y="111"/>
                        </a:cubicBezTo>
                        <a:cubicBezTo>
                          <a:pt x="4" y="110"/>
                          <a:pt x="4" y="107"/>
                          <a:pt x="5" y="107"/>
                        </a:cubicBezTo>
                        <a:cubicBezTo>
                          <a:pt x="6" y="107"/>
                          <a:pt x="8" y="110"/>
                          <a:pt x="8" y="110"/>
                        </a:cubicBezTo>
                        <a:cubicBezTo>
                          <a:pt x="7" y="112"/>
                          <a:pt x="3" y="111"/>
                          <a:pt x="3" y="113"/>
                        </a:cubicBezTo>
                        <a:cubicBezTo>
                          <a:pt x="2" y="115"/>
                          <a:pt x="3" y="115"/>
                          <a:pt x="4" y="116"/>
                        </a:cubicBezTo>
                        <a:cubicBezTo>
                          <a:pt x="4" y="117"/>
                          <a:pt x="4" y="119"/>
                          <a:pt x="4" y="120"/>
                        </a:cubicBezTo>
                        <a:cubicBezTo>
                          <a:pt x="6" y="120"/>
                          <a:pt x="8" y="120"/>
                          <a:pt x="10" y="120"/>
                        </a:cubicBezTo>
                        <a:cubicBezTo>
                          <a:pt x="8" y="121"/>
                          <a:pt x="4" y="120"/>
                          <a:pt x="3" y="122"/>
                        </a:cubicBezTo>
                        <a:cubicBezTo>
                          <a:pt x="3" y="123"/>
                          <a:pt x="3" y="128"/>
                          <a:pt x="4" y="129"/>
                        </a:cubicBezTo>
                        <a:cubicBezTo>
                          <a:pt x="4" y="130"/>
                          <a:pt x="4" y="130"/>
                          <a:pt x="4" y="131"/>
                        </a:cubicBezTo>
                        <a:cubicBezTo>
                          <a:pt x="2" y="132"/>
                          <a:pt x="4" y="133"/>
                          <a:pt x="4" y="135"/>
                        </a:cubicBezTo>
                        <a:cubicBezTo>
                          <a:pt x="2" y="135"/>
                          <a:pt x="2" y="139"/>
                          <a:pt x="4" y="139"/>
                        </a:cubicBezTo>
                        <a:cubicBezTo>
                          <a:pt x="5" y="137"/>
                          <a:pt x="6" y="136"/>
                          <a:pt x="7" y="134"/>
                        </a:cubicBezTo>
                        <a:cubicBezTo>
                          <a:pt x="8" y="134"/>
                          <a:pt x="9" y="134"/>
                          <a:pt x="11" y="134"/>
                        </a:cubicBezTo>
                        <a:cubicBezTo>
                          <a:pt x="11" y="133"/>
                          <a:pt x="10" y="128"/>
                          <a:pt x="12" y="128"/>
                        </a:cubicBezTo>
                        <a:cubicBezTo>
                          <a:pt x="12" y="130"/>
                          <a:pt x="13" y="131"/>
                          <a:pt x="13" y="132"/>
                        </a:cubicBezTo>
                        <a:cubicBezTo>
                          <a:pt x="13" y="133"/>
                          <a:pt x="13" y="134"/>
                          <a:pt x="13" y="135"/>
                        </a:cubicBezTo>
                        <a:cubicBezTo>
                          <a:pt x="12" y="135"/>
                          <a:pt x="11" y="135"/>
                          <a:pt x="10" y="135"/>
                        </a:cubicBezTo>
                        <a:cubicBezTo>
                          <a:pt x="9" y="136"/>
                          <a:pt x="9" y="136"/>
                          <a:pt x="9" y="137"/>
                        </a:cubicBezTo>
                        <a:cubicBezTo>
                          <a:pt x="8" y="138"/>
                          <a:pt x="5" y="140"/>
                          <a:pt x="8" y="141"/>
                        </a:cubicBezTo>
                        <a:cubicBezTo>
                          <a:pt x="7" y="142"/>
                          <a:pt x="8" y="142"/>
                          <a:pt x="8" y="143"/>
                        </a:cubicBezTo>
                        <a:cubicBezTo>
                          <a:pt x="9" y="143"/>
                          <a:pt x="10" y="143"/>
                          <a:pt x="11" y="143"/>
                        </a:cubicBezTo>
                        <a:cubicBezTo>
                          <a:pt x="11" y="143"/>
                          <a:pt x="12" y="144"/>
                          <a:pt x="13" y="145"/>
                        </a:cubicBezTo>
                        <a:cubicBezTo>
                          <a:pt x="11" y="145"/>
                          <a:pt x="9" y="145"/>
                          <a:pt x="7" y="145"/>
                        </a:cubicBezTo>
                        <a:cubicBezTo>
                          <a:pt x="7" y="144"/>
                          <a:pt x="7" y="144"/>
                          <a:pt x="7" y="144"/>
                        </a:cubicBezTo>
                        <a:cubicBezTo>
                          <a:pt x="3" y="143"/>
                          <a:pt x="3" y="149"/>
                          <a:pt x="4" y="152"/>
                        </a:cubicBezTo>
                        <a:cubicBezTo>
                          <a:pt x="4" y="152"/>
                          <a:pt x="5" y="152"/>
                          <a:pt x="5" y="153"/>
                        </a:cubicBezTo>
                        <a:cubicBezTo>
                          <a:pt x="6" y="154"/>
                          <a:pt x="6" y="155"/>
                          <a:pt x="6" y="155"/>
                        </a:cubicBezTo>
                        <a:cubicBezTo>
                          <a:pt x="7" y="157"/>
                          <a:pt x="7" y="158"/>
                          <a:pt x="9" y="159"/>
                        </a:cubicBezTo>
                        <a:cubicBezTo>
                          <a:pt x="8" y="159"/>
                          <a:pt x="7" y="159"/>
                          <a:pt x="7" y="159"/>
                        </a:cubicBezTo>
                        <a:cubicBezTo>
                          <a:pt x="7" y="158"/>
                          <a:pt x="7" y="158"/>
                          <a:pt x="7" y="158"/>
                        </a:cubicBezTo>
                        <a:cubicBezTo>
                          <a:pt x="6" y="158"/>
                          <a:pt x="6" y="158"/>
                          <a:pt x="6" y="158"/>
                        </a:cubicBezTo>
                        <a:cubicBezTo>
                          <a:pt x="5" y="161"/>
                          <a:pt x="5" y="163"/>
                          <a:pt x="5" y="166"/>
                        </a:cubicBezTo>
                        <a:cubicBezTo>
                          <a:pt x="6" y="166"/>
                          <a:pt x="6" y="166"/>
                          <a:pt x="7" y="167"/>
                        </a:cubicBezTo>
                        <a:cubicBezTo>
                          <a:pt x="7" y="168"/>
                          <a:pt x="7" y="169"/>
                          <a:pt x="7" y="170"/>
                        </a:cubicBezTo>
                        <a:cubicBezTo>
                          <a:pt x="7" y="170"/>
                          <a:pt x="8" y="170"/>
                          <a:pt x="9" y="170"/>
                        </a:cubicBezTo>
                        <a:cubicBezTo>
                          <a:pt x="9" y="169"/>
                          <a:pt x="10" y="169"/>
                          <a:pt x="11" y="169"/>
                        </a:cubicBezTo>
                        <a:cubicBezTo>
                          <a:pt x="11" y="170"/>
                          <a:pt x="11" y="172"/>
                          <a:pt x="11" y="173"/>
                        </a:cubicBezTo>
                        <a:cubicBezTo>
                          <a:pt x="11" y="171"/>
                          <a:pt x="7" y="171"/>
                          <a:pt x="5" y="171"/>
                        </a:cubicBezTo>
                        <a:cubicBezTo>
                          <a:pt x="5" y="174"/>
                          <a:pt x="7" y="174"/>
                          <a:pt x="8" y="175"/>
                        </a:cubicBezTo>
                        <a:cubicBezTo>
                          <a:pt x="9" y="177"/>
                          <a:pt x="7" y="178"/>
                          <a:pt x="7" y="180"/>
                        </a:cubicBezTo>
                        <a:cubicBezTo>
                          <a:pt x="7" y="180"/>
                          <a:pt x="7" y="180"/>
                          <a:pt x="8" y="180"/>
                        </a:cubicBezTo>
                        <a:cubicBezTo>
                          <a:pt x="8" y="182"/>
                          <a:pt x="9" y="186"/>
                          <a:pt x="11" y="185"/>
                        </a:cubicBezTo>
                        <a:cubicBezTo>
                          <a:pt x="7" y="186"/>
                          <a:pt x="10" y="191"/>
                          <a:pt x="11" y="193"/>
                        </a:cubicBezTo>
                        <a:cubicBezTo>
                          <a:pt x="14" y="196"/>
                          <a:pt x="12" y="200"/>
                          <a:pt x="12" y="204"/>
                        </a:cubicBezTo>
                        <a:cubicBezTo>
                          <a:pt x="13" y="204"/>
                          <a:pt x="15" y="204"/>
                          <a:pt x="15" y="204"/>
                        </a:cubicBezTo>
                        <a:cubicBezTo>
                          <a:pt x="15" y="205"/>
                          <a:pt x="13" y="205"/>
                          <a:pt x="12" y="206"/>
                        </a:cubicBezTo>
                        <a:cubicBezTo>
                          <a:pt x="14" y="209"/>
                          <a:pt x="16" y="215"/>
                          <a:pt x="13" y="218"/>
                        </a:cubicBezTo>
                        <a:cubicBezTo>
                          <a:pt x="14" y="218"/>
                          <a:pt x="15" y="218"/>
                          <a:pt x="16" y="218"/>
                        </a:cubicBezTo>
                        <a:cubicBezTo>
                          <a:pt x="16" y="220"/>
                          <a:pt x="15" y="219"/>
                          <a:pt x="14" y="220"/>
                        </a:cubicBezTo>
                        <a:cubicBezTo>
                          <a:pt x="14" y="221"/>
                          <a:pt x="14" y="222"/>
                          <a:pt x="14" y="223"/>
                        </a:cubicBezTo>
                        <a:cubicBezTo>
                          <a:pt x="16" y="224"/>
                          <a:pt x="17" y="224"/>
                          <a:pt x="16" y="226"/>
                        </a:cubicBezTo>
                        <a:cubicBezTo>
                          <a:pt x="15" y="226"/>
                          <a:pt x="15" y="227"/>
                          <a:pt x="15" y="228"/>
                        </a:cubicBezTo>
                        <a:cubicBezTo>
                          <a:pt x="17" y="228"/>
                          <a:pt x="15" y="233"/>
                          <a:pt x="15" y="234"/>
                        </a:cubicBezTo>
                        <a:cubicBezTo>
                          <a:pt x="16" y="234"/>
                          <a:pt x="17" y="235"/>
                          <a:pt x="17" y="235"/>
                        </a:cubicBezTo>
                        <a:cubicBezTo>
                          <a:pt x="18" y="236"/>
                          <a:pt x="16" y="236"/>
                          <a:pt x="15" y="236"/>
                        </a:cubicBezTo>
                        <a:cubicBezTo>
                          <a:pt x="17" y="239"/>
                          <a:pt x="16" y="245"/>
                          <a:pt x="17" y="248"/>
                        </a:cubicBezTo>
                        <a:cubicBezTo>
                          <a:pt x="17" y="249"/>
                          <a:pt x="16" y="251"/>
                          <a:pt x="16" y="253"/>
                        </a:cubicBezTo>
                        <a:cubicBezTo>
                          <a:pt x="16" y="255"/>
                          <a:pt x="17" y="257"/>
                          <a:pt x="17" y="259"/>
                        </a:cubicBezTo>
                        <a:cubicBezTo>
                          <a:pt x="18" y="261"/>
                          <a:pt x="17" y="263"/>
                          <a:pt x="18" y="265"/>
                        </a:cubicBezTo>
                        <a:cubicBezTo>
                          <a:pt x="19" y="267"/>
                          <a:pt x="19" y="268"/>
                          <a:pt x="19" y="270"/>
                        </a:cubicBezTo>
                        <a:cubicBezTo>
                          <a:pt x="19" y="271"/>
                          <a:pt x="19" y="273"/>
                          <a:pt x="19" y="274"/>
                        </a:cubicBezTo>
                        <a:cubicBezTo>
                          <a:pt x="19" y="275"/>
                          <a:pt x="21" y="276"/>
                          <a:pt x="21" y="276"/>
                        </a:cubicBezTo>
                        <a:cubicBezTo>
                          <a:pt x="21" y="278"/>
                          <a:pt x="19" y="279"/>
                          <a:pt x="18" y="280"/>
                        </a:cubicBezTo>
                        <a:cubicBezTo>
                          <a:pt x="19" y="281"/>
                          <a:pt x="20" y="282"/>
                          <a:pt x="21" y="283"/>
                        </a:cubicBezTo>
                        <a:cubicBezTo>
                          <a:pt x="22" y="283"/>
                          <a:pt x="23" y="285"/>
                          <a:pt x="24" y="286"/>
                        </a:cubicBezTo>
                        <a:cubicBezTo>
                          <a:pt x="25" y="288"/>
                          <a:pt x="26" y="291"/>
                          <a:pt x="27" y="294"/>
                        </a:cubicBezTo>
                        <a:cubicBezTo>
                          <a:pt x="27" y="294"/>
                          <a:pt x="27" y="294"/>
                          <a:pt x="27" y="294"/>
                        </a:cubicBezTo>
                        <a:cubicBezTo>
                          <a:pt x="27" y="294"/>
                          <a:pt x="27" y="294"/>
                          <a:pt x="27" y="294"/>
                        </a:cubicBezTo>
                        <a:cubicBezTo>
                          <a:pt x="29" y="294"/>
                          <a:pt x="32" y="294"/>
                          <a:pt x="34" y="294"/>
                        </a:cubicBezTo>
                        <a:cubicBezTo>
                          <a:pt x="35" y="292"/>
                          <a:pt x="37" y="292"/>
                          <a:pt x="39" y="292"/>
                        </a:cubicBezTo>
                        <a:cubicBezTo>
                          <a:pt x="40" y="296"/>
                          <a:pt x="43" y="297"/>
                          <a:pt x="43" y="301"/>
                        </a:cubicBezTo>
                        <a:cubicBezTo>
                          <a:pt x="46" y="302"/>
                          <a:pt x="50" y="303"/>
                          <a:pt x="53" y="303"/>
                        </a:cubicBezTo>
                        <a:cubicBezTo>
                          <a:pt x="53" y="303"/>
                          <a:pt x="53" y="303"/>
                          <a:pt x="53" y="303"/>
                        </a:cubicBezTo>
                        <a:cubicBezTo>
                          <a:pt x="53" y="303"/>
                          <a:pt x="53" y="303"/>
                          <a:pt x="53" y="303"/>
                        </a:cubicBezTo>
                        <a:cubicBezTo>
                          <a:pt x="53" y="303"/>
                          <a:pt x="52" y="303"/>
                          <a:pt x="51" y="303"/>
                        </a:cubicBezTo>
                        <a:cubicBezTo>
                          <a:pt x="50" y="298"/>
                          <a:pt x="58" y="297"/>
                          <a:pt x="61" y="297"/>
                        </a:cubicBezTo>
                        <a:cubicBezTo>
                          <a:pt x="61" y="296"/>
                          <a:pt x="61" y="296"/>
                          <a:pt x="60" y="296"/>
                        </a:cubicBezTo>
                        <a:cubicBezTo>
                          <a:pt x="60" y="295"/>
                          <a:pt x="60" y="295"/>
                          <a:pt x="60" y="295"/>
                        </a:cubicBezTo>
                        <a:cubicBezTo>
                          <a:pt x="62" y="295"/>
                          <a:pt x="63" y="296"/>
                          <a:pt x="65" y="296"/>
                        </a:cubicBezTo>
                        <a:cubicBezTo>
                          <a:pt x="65" y="295"/>
                          <a:pt x="65" y="293"/>
                          <a:pt x="65" y="292"/>
                        </a:cubicBezTo>
                        <a:cubicBezTo>
                          <a:pt x="67" y="292"/>
                          <a:pt x="71" y="288"/>
                          <a:pt x="69" y="286"/>
                        </a:cubicBezTo>
                        <a:cubicBezTo>
                          <a:pt x="67" y="285"/>
                          <a:pt x="63" y="286"/>
                          <a:pt x="64" y="283"/>
                        </a:cubicBezTo>
                        <a:cubicBezTo>
                          <a:pt x="67" y="282"/>
                          <a:pt x="69" y="282"/>
                          <a:pt x="71" y="282"/>
                        </a:cubicBezTo>
                        <a:cubicBezTo>
                          <a:pt x="71" y="279"/>
                          <a:pt x="70" y="272"/>
                          <a:pt x="65" y="273"/>
                        </a:cubicBezTo>
                        <a:cubicBezTo>
                          <a:pt x="65" y="275"/>
                          <a:pt x="63" y="273"/>
                          <a:pt x="63" y="272"/>
                        </a:cubicBezTo>
                        <a:cubicBezTo>
                          <a:pt x="62" y="269"/>
                          <a:pt x="63" y="269"/>
                          <a:pt x="64" y="268"/>
                        </a:cubicBezTo>
                        <a:cubicBezTo>
                          <a:pt x="66" y="266"/>
                          <a:pt x="60" y="262"/>
                          <a:pt x="61" y="260"/>
                        </a:cubicBezTo>
                        <a:cubicBezTo>
                          <a:pt x="63" y="259"/>
                          <a:pt x="63" y="262"/>
                          <a:pt x="65" y="261"/>
                        </a:cubicBezTo>
                        <a:cubicBezTo>
                          <a:pt x="65" y="260"/>
                          <a:pt x="65" y="259"/>
                          <a:pt x="67" y="258"/>
                        </a:cubicBezTo>
                        <a:cubicBezTo>
                          <a:pt x="70" y="258"/>
                          <a:pt x="69" y="258"/>
                          <a:pt x="70" y="256"/>
                        </a:cubicBezTo>
                        <a:cubicBezTo>
                          <a:pt x="71" y="254"/>
                          <a:pt x="73" y="255"/>
                          <a:pt x="75" y="255"/>
                        </a:cubicBezTo>
                        <a:cubicBezTo>
                          <a:pt x="77" y="256"/>
                          <a:pt x="77" y="257"/>
                          <a:pt x="77" y="259"/>
                        </a:cubicBezTo>
                        <a:cubicBezTo>
                          <a:pt x="79" y="259"/>
                          <a:pt x="81" y="258"/>
                          <a:pt x="83" y="258"/>
                        </a:cubicBezTo>
                        <a:cubicBezTo>
                          <a:pt x="80" y="256"/>
                          <a:pt x="82" y="253"/>
                          <a:pt x="86" y="253"/>
                        </a:cubicBezTo>
                        <a:cubicBezTo>
                          <a:pt x="86" y="252"/>
                          <a:pt x="90" y="251"/>
                          <a:pt x="91" y="251"/>
                        </a:cubicBezTo>
                        <a:cubicBezTo>
                          <a:pt x="94" y="251"/>
                          <a:pt x="95" y="249"/>
                          <a:pt x="95" y="246"/>
                        </a:cubicBezTo>
                        <a:cubicBezTo>
                          <a:pt x="96" y="246"/>
                          <a:pt x="97" y="246"/>
                          <a:pt x="97" y="246"/>
                        </a:cubicBezTo>
                        <a:cubicBezTo>
                          <a:pt x="97" y="245"/>
                          <a:pt x="98" y="242"/>
                          <a:pt x="97" y="242"/>
                        </a:cubicBezTo>
                        <a:cubicBezTo>
                          <a:pt x="101" y="242"/>
                          <a:pt x="106" y="242"/>
                          <a:pt x="109" y="246"/>
                        </a:cubicBezTo>
                        <a:cubicBezTo>
                          <a:pt x="110" y="247"/>
                          <a:pt x="112" y="247"/>
                          <a:pt x="113" y="246"/>
                        </a:cubicBezTo>
                        <a:cubicBezTo>
                          <a:pt x="115" y="245"/>
                          <a:pt x="114" y="244"/>
                          <a:pt x="114" y="242"/>
                        </a:cubicBezTo>
                        <a:cubicBezTo>
                          <a:pt x="118" y="241"/>
                          <a:pt x="124" y="243"/>
                          <a:pt x="129" y="243"/>
                        </a:cubicBezTo>
                        <a:cubicBezTo>
                          <a:pt x="129" y="242"/>
                          <a:pt x="129" y="241"/>
                          <a:pt x="129" y="240"/>
                        </a:cubicBezTo>
                        <a:cubicBezTo>
                          <a:pt x="132" y="240"/>
                          <a:pt x="131" y="241"/>
                          <a:pt x="133" y="242"/>
                        </a:cubicBezTo>
                        <a:cubicBezTo>
                          <a:pt x="135" y="244"/>
                          <a:pt x="135" y="241"/>
                          <a:pt x="135" y="239"/>
                        </a:cubicBezTo>
                        <a:cubicBezTo>
                          <a:pt x="135" y="237"/>
                          <a:pt x="135" y="236"/>
                          <a:pt x="134" y="234"/>
                        </a:cubicBezTo>
                        <a:cubicBezTo>
                          <a:pt x="133" y="232"/>
                          <a:pt x="134" y="230"/>
                          <a:pt x="136" y="230"/>
                        </a:cubicBezTo>
                        <a:cubicBezTo>
                          <a:pt x="136" y="227"/>
                          <a:pt x="134" y="225"/>
                          <a:pt x="134" y="223"/>
                        </a:cubicBezTo>
                        <a:cubicBezTo>
                          <a:pt x="134" y="220"/>
                          <a:pt x="135" y="218"/>
                          <a:pt x="135" y="216"/>
                        </a:cubicBezTo>
                        <a:cubicBezTo>
                          <a:pt x="138" y="215"/>
                          <a:pt x="139" y="217"/>
                          <a:pt x="141" y="219"/>
                        </a:cubicBezTo>
                        <a:cubicBezTo>
                          <a:pt x="141" y="220"/>
                          <a:pt x="145" y="221"/>
                          <a:pt x="145" y="219"/>
                        </a:cubicBezTo>
                        <a:cubicBezTo>
                          <a:pt x="148" y="219"/>
                          <a:pt x="150" y="223"/>
                          <a:pt x="151" y="224"/>
                        </a:cubicBezTo>
                        <a:cubicBezTo>
                          <a:pt x="153" y="225"/>
                          <a:pt x="156" y="225"/>
                          <a:pt x="158" y="225"/>
                        </a:cubicBezTo>
                        <a:cubicBezTo>
                          <a:pt x="158" y="223"/>
                          <a:pt x="158" y="223"/>
                          <a:pt x="158" y="223"/>
                        </a:cubicBezTo>
                        <a:cubicBezTo>
                          <a:pt x="165" y="226"/>
                          <a:pt x="165" y="226"/>
                          <a:pt x="165" y="226"/>
                        </a:cubicBezTo>
                        <a:cubicBezTo>
                          <a:pt x="169" y="226"/>
                          <a:pt x="169" y="227"/>
                          <a:pt x="172" y="229"/>
                        </a:cubicBezTo>
                        <a:cubicBezTo>
                          <a:pt x="173" y="228"/>
                          <a:pt x="174" y="227"/>
                          <a:pt x="174" y="226"/>
                        </a:cubicBezTo>
                        <a:cubicBezTo>
                          <a:pt x="172" y="225"/>
                          <a:pt x="171" y="222"/>
                          <a:pt x="171" y="220"/>
                        </a:cubicBezTo>
                        <a:cubicBezTo>
                          <a:pt x="171" y="219"/>
                          <a:pt x="173" y="218"/>
                          <a:pt x="172" y="217"/>
                        </a:cubicBezTo>
                        <a:cubicBezTo>
                          <a:pt x="172" y="216"/>
                          <a:pt x="171" y="215"/>
                          <a:pt x="171" y="214"/>
                        </a:cubicBezTo>
                        <a:cubicBezTo>
                          <a:pt x="173" y="214"/>
                          <a:pt x="175" y="215"/>
                          <a:pt x="176" y="215"/>
                        </a:cubicBezTo>
                        <a:cubicBezTo>
                          <a:pt x="178" y="215"/>
                          <a:pt x="177" y="212"/>
                          <a:pt x="178" y="211"/>
                        </a:cubicBezTo>
                        <a:cubicBezTo>
                          <a:pt x="180" y="210"/>
                          <a:pt x="180" y="208"/>
                          <a:pt x="182" y="208"/>
                        </a:cubicBezTo>
                        <a:cubicBezTo>
                          <a:pt x="184" y="207"/>
                          <a:pt x="186" y="209"/>
                          <a:pt x="188" y="208"/>
                        </a:cubicBezTo>
                        <a:cubicBezTo>
                          <a:pt x="190" y="214"/>
                          <a:pt x="190" y="208"/>
                          <a:pt x="193" y="207"/>
                        </a:cubicBezTo>
                        <a:cubicBezTo>
                          <a:pt x="196" y="206"/>
                          <a:pt x="196" y="205"/>
                          <a:pt x="194" y="204"/>
                        </a:cubicBezTo>
                        <a:cubicBezTo>
                          <a:pt x="193" y="203"/>
                          <a:pt x="194" y="201"/>
                          <a:pt x="194" y="199"/>
                        </a:cubicBezTo>
                        <a:cubicBezTo>
                          <a:pt x="194" y="199"/>
                          <a:pt x="194" y="199"/>
                          <a:pt x="194" y="199"/>
                        </a:cubicBezTo>
                        <a:cubicBezTo>
                          <a:pt x="194" y="200"/>
                          <a:pt x="194" y="200"/>
                          <a:pt x="194" y="201"/>
                        </a:cubicBezTo>
                        <a:cubicBezTo>
                          <a:pt x="197" y="202"/>
                          <a:pt x="199" y="202"/>
                          <a:pt x="202" y="200"/>
                        </a:cubicBezTo>
                        <a:cubicBezTo>
                          <a:pt x="203" y="199"/>
                          <a:pt x="203" y="199"/>
                          <a:pt x="203" y="199"/>
                        </a:cubicBezTo>
                        <a:cubicBezTo>
                          <a:pt x="203" y="199"/>
                          <a:pt x="203" y="197"/>
                          <a:pt x="203" y="196"/>
                        </a:cubicBezTo>
                        <a:cubicBezTo>
                          <a:pt x="205" y="196"/>
                          <a:pt x="205" y="196"/>
                          <a:pt x="205" y="194"/>
                        </a:cubicBezTo>
                        <a:cubicBezTo>
                          <a:pt x="205" y="193"/>
                          <a:pt x="205" y="192"/>
                          <a:pt x="203" y="192"/>
                        </a:cubicBezTo>
                        <a:cubicBezTo>
                          <a:pt x="206" y="185"/>
                          <a:pt x="213" y="192"/>
                          <a:pt x="215" y="188"/>
                        </a:cubicBezTo>
                        <a:cubicBezTo>
                          <a:pt x="217" y="186"/>
                          <a:pt x="220" y="185"/>
                          <a:pt x="221" y="182"/>
                        </a:cubicBezTo>
                        <a:cubicBezTo>
                          <a:pt x="223" y="179"/>
                          <a:pt x="222" y="179"/>
                          <a:pt x="226" y="179"/>
                        </a:cubicBezTo>
                        <a:cubicBezTo>
                          <a:pt x="227" y="181"/>
                          <a:pt x="226" y="192"/>
                          <a:pt x="230" y="186"/>
                        </a:cubicBezTo>
                        <a:cubicBezTo>
                          <a:pt x="230" y="185"/>
                          <a:pt x="230" y="185"/>
                          <a:pt x="230" y="185"/>
                        </a:cubicBezTo>
                        <a:cubicBezTo>
                          <a:pt x="231" y="185"/>
                          <a:pt x="231" y="184"/>
                          <a:pt x="231" y="184"/>
                        </a:cubicBezTo>
                        <a:cubicBezTo>
                          <a:pt x="232" y="182"/>
                          <a:pt x="233" y="180"/>
                          <a:pt x="232" y="178"/>
                        </a:cubicBezTo>
                        <a:cubicBezTo>
                          <a:pt x="232" y="176"/>
                          <a:pt x="231" y="176"/>
                          <a:pt x="231" y="174"/>
                        </a:cubicBezTo>
                        <a:cubicBezTo>
                          <a:pt x="232" y="174"/>
                          <a:pt x="232" y="172"/>
                          <a:pt x="232" y="171"/>
                        </a:cubicBezTo>
                        <a:cubicBezTo>
                          <a:pt x="233" y="172"/>
                          <a:pt x="234" y="171"/>
                          <a:pt x="234" y="169"/>
                        </a:cubicBezTo>
                        <a:cubicBezTo>
                          <a:pt x="236" y="169"/>
                          <a:pt x="238" y="170"/>
                          <a:pt x="240" y="170"/>
                        </a:cubicBezTo>
                        <a:cubicBezTo>
                          <a:pt x="240" y="169"/>
                          <a:pt x="241" y="165"/>
                          <a:pt x="242" y="164"/>
                        </a:cubicBezTo>
                        <a:cubicBezTo>
                          <a:pt x="243" y="161"/>
                          <a:pt x="245" y="159"/>
                          <a:pt x="248" y="158"/>
                        </a:cubicBezTo>
                        <a:cubicBezTo>
                          <a:pt x="249" y="157"/>
                          <a:pt x="250" y="156"/>
                          <a:pt x="250" y="154"/>
                        </a:cubicBezTo>
                        <a:cubicBezTo>
                          <a:pt x="248" y="154"/>
                          <a:pt x="248" y="154"/>
                          <a:pt x="248" y="154"/>
                        </a:cubicBezTo>
                        <a:cubicBezTo>
                          <a:pt x="248" y="151"/>
                          <a:pt x="239" y="146"/>
                          <a:pt x="246" y="144"/>
                        </a:cubicBezTo>
                        <a:cubicBezTo>
                          <a:pt x="249" y="143"/>
                          <a:pt x="247" y="140"/>
                          <a:pt x="248" y="138"/>
                        </a:cubicBezTo>
                        <a:cubicBezTo>
                          <a:pt x="249" y="136"/>
                          <a:pt x="252" y="136"/>
                          <a:pt x="251" y="133"/>
                        </a:cubicBezTo>
                        <a:cubicBezTo>
                          <a:pt x="252" y="133"/>
                          <a:pt x="253" y="133"/>
                          <a:pt x="254" y="133"/>
                        </a:cubicBezTo>
                        <a:cubicBezTo>
                          <a:pt x="254" y="136"/>
                          <a:pt x="258" y="136"/>
                          <a:pt x="256" y="139"/>
                        </a:cubicBezTo>
                        <a:cubicBezTo>
                          <a:pt x="258" y="137"/>
                          <a:pt x="261" y="138"/>
                          <a:pt x="263" y="138"/>
                        </a:cubicBezTo>
                        <a:cubicBezTo>
                          <a:pt x="264" y="137"/>
                          <a:pt x="264" y="137"/>
                          <a:pt x="264" y="137"/>
                        </a:cubicBezTo>
                        <a:cubicBezTo>
                          <a:pt x="263" y="136"/>
                          <a:pt x="263" y="134"/>
                          <a:pt x="261" y="133"/>
                        </a:cubicBezTo>
                        <a:cubicBezTo>
                          <a:pt x="260" y="133"/>
                          <a:pt x="259" y="132"/>
                          <a:pt x="259" y="131"/>
                        </a:cubicBezTo>
                        <a:cubicBezTo>
                          <a:pt x="264" y="131"/>
                          <a:pt x="266" y="131"/>
                          <a:pt x="269" y="128"/>
                        </a:cubicBezTo>
                        <a:cubicBezTo>
                          <a:pt x="271" y="127"/>
                          <a:pt x="271" y="121"/>
                          <a:pt x="271" y="119"/>
                        </a:cubicBezTo>
                        <a:cubicBezTo>
                          <a:pt x="271" y="118"/>
                          <a:pt x="269" y="118"/>
                          <a:pt x="270" y="117"/>
                        </a:cubicBezTo>
                        <a:cubicBezTo>
                          <a:pt x="270" y="116"/>
                          <a:pt x="272" y="116"/>
                          <a:pt x="272" y="115"/>
                        </a:cubicBezTo>
                        <a:cubicBezTo>
                          <a:pt x="275" y="112"/>
                          <a:pt x="270" y="111"/>
                          <a:pt x="270" y="108"/>
                        </a:cubicBezTo>
                        <a:cubicBezTo>
                          <a:pt x="271" y="108"/>
                          <a:pt x="272" y="108"/>
                          <a:pt x="272" y="107"/>
                        </a:cubicBezTo>
                        <a:cubicBezTo>
                          <a:pt x="274" y="108"/>
                          <a:pt x="280" y="111"/>
                          <a:pt x="280" y="113"/>
                        </a:cubicBezTo>
                        <a:cubicBezTo>
                          <a:pt x="283" y="113"/>
                          <a:pt x="286" y="111"/>
                          <a:pt x="289" y="113"/>
                        </a:cubicBezTo>
                        <a:cubicBezTo>
                          <a:pt x="291" y="114"/>
                          <a:pt x="294" y="113"/>
                          <a:pt x="297" y="113"/>
                        </a:cubicBezTo>
                        <a:cubicBezTo>
                          <a:pt x="297" y="116"/>
                          <a:pt x="296" y="118"/>
                          <a:pt x="296" y="120"/>
                        </a:cubicBezTo>
                        <a:cubicBezTo>
                          <a:pt x="299" y="121"/>
                          <a:pt x="301" y="120"/>
                          <a:pt x="303" y="120"/>
                        </a:cubicBezTo>
                        <a:cubicBezTo>
                          <a:pt x="303" y="122"/>
                          <a:pt x="303" y="122"/>
                          <a:pt x="301" y="123"/>
                        </a:cubicBezTo>
                        <a:cubicBezTo>
                          <a:pt x="300" y="124"/>
                          <a:pt x="300" y="126"/>
                          <a:pt x="300" y="127"/>
                        </a:cubicBezTo>
                        <a:cubicBezTo>
                          <a:pt x="303" y="128"/>
                          <a:pt x="306" y="127"/>
                          <a:pt x="308" y="127"/>
                        </a:cubicBezTo>
                        <a:cubicBezTo>
                          <a:pt x="308" y="127"/>
                          <a:pt x="308" y="127"/>
                          <a:pt x="308" y="127"/>
                        </a:cubicBezTo>
                        <a:cubicBezTo>
                          <a:pt x="311" y="126"/>
                          <a:pt x="312" y="130"/>
                          <a:pt x="315" y="129"/>
                        </a:cubicBezTo>
                        <a:cubicBezTo>
                          <a:pt x="314" y="128"/>
                          <a:pt x="313" y="126"/>
                          <a:pt x="315" y="126"/>
                        </a:cubicBezTo>
                        <a:cubicBezTo>
                          <a:pt x="315" y="124"/>
                          <a:pt x="315" y="123"/>
                          <a:pt x="315" y="122"/>
                        </a:cubicBezTo>
                        <a:cubicBezTo>
                          <a:pt x="315" y="122"/>
                          <a:pt x="316" y="122"/>
                          <a:pt x="316" y="122"/>
                        </a:cubicBezTo>
                        <a:cubicBezTo>
                          <a:pt x="317" y="122"/>
                          <a:pt x="317" y="124"/>
                          <a:pt x="317" y="124"/>
                        </a:cubicBezTo>
                        <a:cubicBezTo>
                          <a:pt x="318" y="125"/>
                          <a:pt x="320" y="124"/>
                          <a:pt x="322" y="124"/>
                        </a:cubicBezTo>
                        <a:cubicBezTo>
                          <a:pt x="322" y="125"/>
                          <a:pt x="322" y="126"/>
                          <a:pt x="322" y="126"/>
                        </a:cubicBezTo>
                        <a:cubicBezTo>
                          <a:pt x="322" y="126"/>
                          <a:pt x="323" y="126"/>
                          <a:pt x="324" y="126"/>
                        </a:cubicBezTo>
                        <a:cubicBezTo>
                          <a:pt x="323" y="128"/>
                          <a:pt x="326" y="131"/>
                          <a:pt x="328" y="129"/>
                        </a:cubicBezTo>
                        <a:cubicBezTo>
                          <a:pt x="329" y="128"/>
                          <a:pt x="327" y="127"/>
                          <a:pt x="328" y="126"/>
                        </a:cubicBezTo>
                        <a:cubicBezTo>
                          <a:pt x="330" y="125"/>
                          <a:pt x="330" y="127"/>
                          <a:pt x="330" y="128"/>
                        </a:cubicBezTo>
                        <a:cubicBezTo>
                          <a:pt x="332" y="128"/>
                          <a:pt x="332" y="126"/>
                          <a:pt x="333" y="125"/>
                        </a:cubicBezTo>
                        <a:cubicBezTo>
                          <a:pt x="335" y="125"/>
                          <a:pt x="337" y="126"/>
                          <a:pt x="339" y="126"/>
                        </a:cubicBezTo>
                        <a:cubicBezTo>
                          <a:pt x="340" y="125"/>
                          <a:pt x="341" y="125"/>
                          <a:pt x="341" y="126"/>
                        </a:cubicBezTo>
                        <a:cubicBezTo>
                          <a:pt x="343" y="129"/>
                          <a:pt x="346" y="131"/>
                          <a:pt x="349" y="132"/>
                        </a:cubicBezTo>
                        <a:cubicBezTo>
                          <a:pt x="349" y="133"/>
                          <a:pt x="351" y="134"/>
                          <a:pt x="351" y="135"/>
                        </a:cubicBezTo>
                        <a:cubicBezTo>
                          <a:pt x="351" y="137"/>
                          <a:pt x="350" y="138"/>
                          <a:pt x="349" y="140"/>
                        </a:cubicBezTo>
                        <a:cubicBezTo>
                          <a:pt x="348" y="143"/>
                          <a:pt x="350" y="146"/>
                          <a:pt x="347" y="148"/>
                        </a:cubicBezTo>
                        <a:cubicBezTo>
                          <a:pt x="345" y="150"/>
                          <a:pt x="344" y="153"/>
                          <a:pt x="347" y="154"/>
                        </a:cubicBezTo>
                        <a:cubicBezTo>
                          <a:pt x="349" y="155"/>
                          <a:pt x="350" y="161"/>
                          <a:pt x="350" y="163"/>
                        </a:cubicBezTo>
                        <a:cubicBezTo>
                          <a:pt x="347" y="164"/>
                          <a:pt x="350" y="166"/>
                          <a:pt x="351" y="167"/>
                        </a:cubicBezTo>
                        <a:cubicBezTo>
                          <a:pt x="353" y="169"/>
                          <a:pt x="357" y="170"/>
                          <a:pt x="360" y="171"/>
                        </a:cubicBezTo>
                        <a:cubicBezTo>
                          <a:pt x="361" y="171"/>
                          <a:pt x="361" y="171"/>
                          <a:pt x="361" y="171"/>
                        </a:cubicBezTo>
                        <a:cubicBezTo>
                          <a:pt x="362" y="170"/>
                          <a:pt x="362" y="170"/>
                          <a:pt x="362" y="170"/>
                        </a:cubicBezTo>
                        <a:cubicBezTo>
                          <a:pt x="362" y="170"/>
                          <a:pt x="363" y="170"/>
                          <a:pt x="364" y="169"/>
                        </a:cubicBezTo>
                        <a:cubicBezTo>
                          <a:pt x="364" y="169"/>
                          <a:pt x="363" y="168"/>
                          <a:pt x="362" y="168"/>
                        </a:cubicBezTo>
                        <a:cubicBezTo>
                          <a:pt x="361" y="164"/>
                          <a:pt x="365" y="165"/>
                          <a:pt x="367" y="164"/>
                        </a:cubicBezTo>
                        <a:cubicBezTo>
                          <a:pt x="371" y="162"/>
                          <a:pt x="366" y="160"/>
                          <a:pt x="365" y="158"/>
                        </a:cubicBezTo>
                        <a:cubicBezTo>
                          <a:pt x="364" y="157"/>
                          <a:pt x="363" y="151"/>
                          <a:pt x="366" y="151"/>
                        </a:cubicBezTo>
                        <a:cubicBezTo>
                          <a:pt x="369" y="150"/>
                          <a:pt x="366" y="146"/>
                          <a:pt x="369" y="145"/>
                        </a:cubicBezTo>
                        <a:cubicBezTo>
                          <a:pt x="369" y="144"/>
                          <a:pt x="369" y="144"/>
                          <a:pt x="369" y="144"/>
                        </a:cubicBezTo>
                        <a:cubicBezTo>
                          <a:pt x="372" y="145"/>
                          <a:pt x="377" y="137"/>
                          <a:pt x="379" y="138"/>
                        </a:cubicBezTo>
                        <a:cubicBezTo>
                          <a:pt x="380" y="139"/>
                          <a:pt x="381" y="142"/>
                          <a:pt x="383" y="142"/>
                        </a:cubicBezTo>
                        <a:cubicBezTo>
                          <a:pt x="385" y="143"/>
                          <a:pt x="387" y="143"/>
                          <a:pt x="389" y="143"/>
                        </a:cubicBezTo>
                        <a:cubicBezTo>
                          <a:pt x="390" y="142"/>
                          <a:pt x="390" y="142"/>
                          <a:pt x="392" y="141"/>
                        </a:cubicBezTo>
                        <a:cubicBezTo>
                          <a:pt x="392" y="140"/>
                          <a:pt x="392" y="141"/>
                          <a:pt x="393" y="140"/>
                        </a:cubicBezTo>
                        <a:cubicBezTo>
                          <a:pt x="392" y="139"/>
                          <a:pt x="394" y="138"/>
                          <a:pt x="394" y="137"/>
                        </a:cubicBezTo>
                        <a:cubicBezTo>
                          <a:pt x="394" y="137"/>
                          <a:pt x="394" y="137"/>
                          <a:pt x="393" y="137"/>
                        </a:cubicBezTo>
                        <a:cubicBezTo>
                          <a:pt x="392" y="135"/>
                          <a:pt x="396" y="134"/>
                          <a:pt x="395" y="132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206" name="Group 130">
                    <a:extLst>
                      <a:ext uri="{FF2B5EF4-FFF2-40B4-BE49-F238E27FC236}">
                        <a16:creationId xmlns:a16="http://schemas.microsoft.com/office/drawing/2014/main" xmlns="" id="{6CA3C193-B2BF-467F-9E22-50FFFB730624}"/>
                      </a:ext>
                    </a:extLst>
                  </p:cNvPr>
                  <p:cNvGrpSpPr/>
                  <p:nvPr/>
                </p:nvGrpSpPr>
                <p:grpSpPr>
                  <a:xfrm>
                    <a:off x="6221413" y="5003801"/>
                    <a:ext cx="411163" cy="1385888"/>
                    <a:chOff x="6221413" y="5003801"/>
                    <a:chExt cx="411163" cy="1385888"/>
                  </a:xfrm>
                </p:grpSpPr>
                <p:sp>
                  <p:nvSpPr>
                    <p:cNvPr id="252" name="Freeform 358">
                      <a:extLst>
                        <a:ext uri="{FF2B5EF4-FFF2-40B4-BE49-F238E27FC236}">
                          <a16:creationId xmlns:a16="http://schemas.microsoft.com/office/drawing/2014/main" xmlns="" id="{CB88D4DB-22E8-4D6A-BAE0-6BD8BF99CF0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483351" y="5003801"/>
                      <a:ext cx="14288" cy="14288"/>
                    </a:xfrm>
                    <a:custGeom>
                      <a:avLst/>
                      <a:gdLst>
                        <a:gd name="T0" fmla="*/ 1 w 4"/>
                        <a:gd name="T1" fmla="*/ 0 h 4"/>
                        <a:gd name="T2" fmla="*/ 2 w 4"/>
                        <a:gd name="T3" fmla="*/ 4 h 4"/>
                        <a:gd name="T4" fmla="*/ 4 w 4"/>
                        <a:gd name="T5" fmla="*/ 3 h 4"/>
                        <a:gd name="T6" fmla="*/ 3 w 4"/>
                        <a:gd name="T7" fmla="*/ 1 h 4"/>
                        <a:gd name="T8" fmla="*/ 1 w 4"/>
                        <a:gd name="T9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" h="4">
                          <a:moveTo>
                            <a:pt x="1" y="0"/>
                          </a:moveTo>
                          <a:cubicBezTo>
                            <a:pt x="0" y="1"/>
                            <a:pt x="0" y="2"/>
                            <a:pt x="2" y="4"/>
                          </a:cubicBezTo>
                          <a:cubicBezTo>
                            <a:pt x="2" y="4"/>
                            <a:pt x="3" y="3"/>
                            <a:pt x="4" y="3"/>
                          </a:cubicBezTo>
                          <a:cubicBezTo>
                            <a:pt x="4" y="2"/>
                            <a:pt x="3" y="2"/>
                            <a:pt x="3" y="1"/>
                          </a:cubicBez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3" name="Freeform 359">
                      <a:extLst>
                        <a:ext uri="{FF2B5EF4-FFF2-40B4-BE49-F238E27FC236}">
                          <a16:creationId xmlns:a16="http://schemas.microsoft.com/office/drawing/2014/main" xmlns="" id="{29F120BA-6CCD-43A1-AE1A-CB6F7268F1A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540501" y="5448301"/>
                      <a:ext cx="9525" cy="7938"/>
                    </a:xfrm>
                    <a:custGeom>
                      <a:avLst/>
                      <a:gdLst>
                        <a:gd name="T0" fmla="*/ 1 w 3"/>
                        <a:gd name="T1" fmla="*/ 0 h 2"/>
                        <a:gd name="T2" fmla="*/ 0 w 3"/>
                        <a:gd name="T3" fmla="*/ 2 h 2"/>
                        <a:gd name="T4" fmla="*/ 3 w 3"/>
                        <a:gd name="T5" fmla="*/ 2 h 2"/>
                        <a:gd name="T6" fmla="*/ 0 w 3"/>
                        <a:gd name="T7" fmla="*/ 1 h 2"/>
                        <a:gd name="T8" fmla="*/ 1 w 3"/>
                        <a:gd name="T9" fmla="*/ 0 h 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" h="2">
                          <a:moveTo>
                            <a:pt x="1" y="0"/>
                          </a:moveTo>
                          <a:cubicBezTo>
                            <a:pt x="0" y="1"/>
                            <a:pt x="0" y="0"/>
                            <a:pt x="0" y="2"/>
                          </a:cubicBezTo>
                          <a:cubicBezTo>
                            <a:pt x="1" y="2"/>
                            <a:pt x="2" y="2"/>
                            <a:pt x="3" y="2"/>
                          </a:cubicBezTo>
                          <a:cubicBezTo>
                            <a:pt x="2" y="1"/>
                            <a:pt x="1" y="1"/>
                            <a:pt x="0" y="1"/>
                          </a:cubicBez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4" name="Freeform 360">
                      <a:extLst>
                        <a:ext uri="{FF2B5EF4-FFF2-40B4-BE49-F238E27FC236}">
                          <a16:creationId xmlns:a16="http://schemas.microsoft.com/office/drawing/2014/main" xmlns="" id="{2F989E03-E312-4776-A4FC-B56EDA3BCBE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48413" y="5332413"/>
                      <a:ext cx="46038" cy="88900"/>
                    </a:xfrm>
                    <a:custGeom>
                      <a:avLst/>
                      <a:gdLst>
                        <a:gd name="T0" fmla="*/ 12 w 13"/>
                        <a:gd name="T1" fmla="*/ 10 h 25"/>
                        <a:gd name="T2" fmla="*/ 11 w 13"/>
                        <a:gd name="T3" fmla="*/ 1 h 25"/>
                        <a:gd name="T4" fmla="*/ 3 w 13"/>
                        <a:gd name="T5" fmla="*/ 2 h 25"/>
                        <a:gd name="T6" fmla="*/ 3 w 13"/>
                        <a:gd name="T7" fmla="*/ 10 h 25"/>
                        <a:gd name="T8" fmla="*/ 1 w 13"/>
                        <a:gd name="T9" fmla="*/ 16 h 25"/>
                        <a:gd name="T10" fmla="*/ 2 w 13"/>
                        <a:gd name="T11" fmla="*/ 25 h 25"/>
                        <a:gd name="T12" fmla="*/ 10 w 13"/>
                        <a:gd name="T13" fmla="*/ 25 h 25"/>
                        <a:gd name="T14" fmla="*/ 9 w 13"/>
                        <a:gd name="T15" fmla="*/ 17 h 25"/>
                        <a:gd name="T16" fmla="*/ 12 w 13"/>
                        <a:gd name="T17" fmla="*/ 17 h 25"/>
                        <a:gd name="T18" fmla="*/ 13 w 13"/>
                        <a:gd name="T19" fmla="*/ 14 h 25"/>
                        <a:gd name="T20" fmla="*/ 12 w 13"/>
                        <a:gd name="T21" fmla="*/ 10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3" h="25">
                          <a:moveTo>
                            <a:pt x="12" y="10"/>
                          </a:moveTo>
                          <a:cubicBezTo>
                            <a:pt x="11" y="8"/>
                            <a:pt x="13" y="3"/>
                            <a:pt x="11" y="1"/>
                          </a:cubicBezTo>
                          <a:cubicBezTo>
                            <a:pt x="10" y="0"/>
                            <a:pt x="4" y="1"/>
                            <a:pt x="3" y="2"/>
                          </a:cubicBezTo>
                          <a:cubicBezTo>
                            <a:pt x="2" y="3"/>
                            <a:pt x="4" y="8"/>
                            <a:pt x="3" y="10"/>
                          </a:cubicBezTo>
                          <a:cubicBezTo>
                            <a:pt x="3" y="12"/>
                            <a:pt x="1" y="14"/>
                            <a:pt x="1" y="16"/>
                          </a:cubicBezTo>
                          <a:cubicBezTo>
                            <a:pt x="0" y="19"/>
                            <a:pt x="2" y="22"/>
                            <a:pt x="2" y="25"/>
                          </a:cubicBezTo>
                          <a:cubicBezTo>
                            <a:pt x="4" y="25"/>
                            <a:pt x="7" y="25"/>
                            <a:pt x="10" y="25"/>
                          </a:cubicBezTo>
                          <a:cubicBezTo>
                            <a:pt x="10" y="22"/>
                            <a:pt x="9" y="20"/>
                            <a:pt x="9" y="17"/>
                          </a:cubicBezTo>
                          <a:cubicBezTo>
                            <a:pt x="10" y="17"/>
                            <a:pt x="11" y="17"/>
                            <a:pt x="12" y="17"/>
                          </a:cubicBezTo>
                          <a:cubicBezTo>
                            <a:pt x="12" y="16"/>
                            <a:pt x="13" y="15"/>
                            <a:pt x="13" y="14"/>
                          </a:cubicBezTo>
                          <a:cubicBezTo>
                            <a:pt x="13" y="12"/>
                            <a:pt x="12" y="12"/>
                            <a:pt x="12" y="10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5" name="Freeform 361">
                      <a:extLst>
                        <a:ext uri="{FF2B5EF4-FFF2-40B4-BE49-F238E27FC236}">
                          <a16:creationId xmlns:a16="http://schemas.microsoft.com/office/drawing/2014/main" xmlns="" id="{5C036EB5-5E12-48C1-BAF1-B3752071A15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70638" y="5427663"/>
                      <a:ext cx="14288" cy="25400"/>
                    </a:xfrm>
                    <a:custGeom>
                      <a:avLst/>
                      <a:gdLst>
                        <a:gd name="T0" fmla="*/ 3 w 4"/>
                        <a:gd name="T1" fmla="*/ 1 h 7"/>
                        <a:gd name="T2" fmla="*/ 0 w 4"/>
                        <a:gd name="T3" fmla="*/ 3 h 7"/>
                        <a:gd name="T4" fmla="*/ 0 w 4"/>
                        <a:gd name="T5" fmla="*/ 7 h 7"/>
                        <a:gd name="T6" fmla="*/ 3 w 4"/>
                        <a:gd name="T7" fmla="*/ 7 h 7"/>
                        <a:gd name="T8" fmla="*/ 3 w 4"/>
                        <a:gd name="T9" fmla="*/ 1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" h="7">
                          <a:moveTo>
                            <a:pt x="3" y="1"/>
                          </a:moveTo>
                          <a:cubicBezTo>
                            <a:pt x="2" y="0"/>
                            <a:pt x="1" y="1"/>
                            <a:pt x="0" y="3"/>
                          </a:cubicBezTo>
                          <a:cubicBezTo>
                            <a:pt x="0" y="4"/>
                            <a:pt x="0" y="6"/>
                            <a:pt x="0" y="7"/>
                          </a:cubicBezTo>
                          <a:cubicBezTo>
                            <a:pt x="3" y="7"/>
                            <a:pt x="3" y="7"/>
                            <a:pt x="3" y="7"/>
                          </a:cubicBezTo>
                          <a:cubicBezTo>
                            <a:pt x="4" y="7"/>
                            <a:pt x="4" y="2"/>
                            <a:pt x="3" y="1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6" name="Freeform 362">
                      <a:extLst>
                        <a:ext uri="{FF2B5EF4-FFF2-40B4-BE49-F238E27FC236}">
                          <a16:creationId xmlns:a16="http://schemas.microsoft.com/office/drawing/2014/main" xmlns="" id="{9352CDAF-85B9-432D-80D7-C74EAD45D24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59526" y="5191126"/>
                      <a:ext cx="42863" cy="138113"/>
                    </a:xfrm>
                    <a:custGeom>
                      <a:avLst/>
                      <a:gdLst>
                        <a:gd name="T0" fmla="*/ 11 w 12"/>
                        <a:gd name="T1" fmla="*/ 14 h 39"/>
                        <a:gd name="T2" fmla="*/ 11 w 12"/>
                        <a:gd name="T3" fmla="*/ 12 h 39"/>
                        <a:gd name="T4" fmla="*/ 6 w 12"/>
                        <a:gd name="T5" fmla="*/ 7 h 39"/>
                        <a:gd name="T6" fmla="*/ 3 w 12"/>
                        <a:gd name="T7" fmla="*/ 13 h 39"/>
                        <a:gd name="T8" fmla="*/ 3 w 12"/>
                        <a:gd name="T9" fmla="*/ 23 h 39"/>
                        <a:gd name="T10" fmla="*/ 1 w 12"/>
                        <a:gd name="T11" fmla="*/ 33 h 39"/>
                        <a:gd name="T12" fmla="*/ 1 w 12"/>
                        <a:gd name="T13" fmla="*/ 37 h 39"/>
                        <a:gd name="T14" fmla="*/ 6 w 12"/>
                        <a:gd name="T15" fmla="*/ 37 h 39"/>
                        <a:gd name="T16" fmla="*/ 5 w 12"/>
                        <a:gd name="T17" fmla="*/ 28 h 39"/>
                        <a:gd name="T18" fmla="*/ 8 w 12"/>
                        <a:gd name="T19" fmla="*/ 28 h 39"/>
                        <a:gd name="T20" fmla="*/ 8 w 12"/>
                        <a:gd name="T21" fmla="*/ 31 h 39"/>
                        <a:gd name="T22" fmla="*/ 11 w 12"/>
                        <a:gd name="T23" fmla="*/ 31 h 39"/>
                        <a:gd name="T24" fmla="*/ 11 w 12"/>
                        <a:gd name="T25" fmla="*/ 23 h 39"/>
                        <a:gd name="T26" fmla="*/ 11 w 12"/>
                        <a:gd name="T27" fmla="*/ 19 h 39"/>
                        <a:gd name="T28" fmla="*/ 8 w 12"/>
                        <a:gd name="T29" fmla="*/ 16 h 39"/>
                        <a:gd name="T30" fmla="*/ 11 w 12"/>
                        <a:gd name="T31" fmla="*/ 14 h 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2" h="39">
                          <a:moveTo>
                            <a:pt x="11" y="14"/>
                          </a:moveTo>
                          <a:cubicBezTo>
                            <a:pt x="12" y="12"/>
                            <a:pt x="11" y="14"/>
                            <a:pt x="11" y="12"/>
                          </a:cubicBezTo>
                          <a:cubicBezTo>
                            <a:pt x="11" y="9"/>
                            <a:pt x="9" y="0"/>
                            <a:pt x="6" y="7"/>
                          </a:cubicBezTo>
                          <a:cubicBezTo>
                            <a:pt x="5" y="9"/>
                            <a:pt x="6" y="13"/>
                            <a:pt x="3" y="13"/>
                          </a:cubicBezTo>
                          <a:cubicBezTo>
                            <a:pt x="2" y="16"/>
                            <a:pt x="3" y="20"/>
                            <a:pt x="3" y="23"/>
                          </a:cubicBezTo>
                          <a:cubicBezTo>
                            <a:pt x="3" y="27"/>
                            <a:pt x="2" y="30"/>
                            <a:pt x="1" y="33"/>
                          </a:cubicBezTo>
                          <a:cubicBezTo>
                            <a:pt x="1" y="34"/>
                            <a:pt x="0" y="36"/>
                            <a:pt x="1" y="37"/>
                          </a:cubicBezTo>
                          <a:cubicBezTo>
                            <a:pt x="2" y="39"/>
                            <a:pt x="5" y="38"/>
                            <a:pt x="6" y="37"/>
                          </a:cubicBezTo>
                          <a:cubicBezTo>
                            <a:pt x="8" y="35"/>
                            <a:pt x="4" y="30"/>
                            <a:pt x="5" y="28"/>
                          </a:cubicBezTo>
                          <a:cubicBezTo>
                            <a:pt x="6" y="28"/>
                            <a:pt x="7" y="28"/>
                            <a:pt x="8" y="28"/>
                          </a:cubicBezTo>
                          <a:cubicBezTo>
                            <a:pt x="8" y="29"/>
                            <a:pt x="8" y="30"/>
                            <a:pt x="8" y="31"/>
                          </a:cubicBezTo>
                          <a:cubicBezTo>
                            <a:pt x="9" y="31"/>
                            <a:pt x="10" y="31"/>
                            <a:pt x="11" y="31"/>
                          </a:cubicBezTo>
                          <a:cubicBezTo>
                            <a:pt x="11" y="28"/>
                            <a:pt x="11" y="26"/>
                            <a:pt x="11" y="23"/>
                          </a:cubicBezTo>
                          <a:cubicBezTo>
                            <a:pt x="11" y="22"/>
                            <a:pt x="11" y="19"/>
                            <a:pt x="11" y="19"/>
                          </a:cubicBezTo>
                          <a:cubicBezTo>
                            <a:pt x="10" y="18"/>
                            <a:pt x="8" y="18"/>
                            <a:pt x="8" y="16"/>
                          </a:cubicBezTo>
                          <a:cubicBezTo>
                            <a:pt x="8" y="15"/>
                            <a:pt x="10" y="15"/>
                            <a:pt x="11" y="14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7" name="Freeform 363">
                      <a:extLst>
                        <a:ext uri="{FF2B5EF4-FFF2-40B4-BE49-F238E27FC236}">
                          <a16:creationId xmlns:a16="http://schemas.microsoft.com/office/drawing/2014/main" xmlns="" id="{C86545C1-6B6D-42DA-9B18-FBB8B02F542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30951" y="5448301"/>
                      <a:ext cx="49213" cy="117475"/>
                    </a:xfrm>
                    <a:custGeom>
                      <a:avLst/>
                      <a:gdLst>
                        <a:gd name="T0" fmla="*/ 9 w 14"/>
                        <a:gd name="T1" fmla="*/ 19 h 33"/>
                        <a:gd name="T2" fmla="*/ 9 w 14"/>
                        <a:gd name="T3" fmla="*/ 10 h 33"/>
                        <a:gd name="T4" fmla="*/ 8 w 14"/>
                        <a:gd name="T5" fmla="*/ 3 h 33"/>
                        <a:gd name="T6" fmla="*/ 8 w 14"/>
                        <a:gd name="T7" fmla="*/ 4 h 33"/>
                        <a:gd name="T8" fmla="*/ 8 w 14"/>
                        <a:gd name="T9" fmla="*/ 2 h 33"/>
                        <a:gd name="T10" fmla="*/ 8 w 14"/>
                        <a:gd name="T11" fmla="*/ 3 h 33"/>
                        <a:gd name="T12" fmla="*/ 6 w 14"/>
                        <a:gd name="T13" fmla="*/ 0 h 33"/>
                        <a:gd name="T14" fmla="*/ 4 w 14"/>
                        <a:gd name="T15" fmla="*/ 6 h 33"/>
                        <a:gd name="T16" fmla="*/ 3 w 14"/>
                        <a:gd name="T17" fmla="*/ 12 h 33"/>
                        <a:gd name="T18" fmla="*/ 1 w 14"/>
                        <a:gd name="T19" fmla="*/ 15 h 33"/>
                        <a:gd name="T20" fmla="*/ 1 w 14"/>
                        <a:gd name="T21" fmla="*/ 17 h 33"/>
                        <a:gd name="T22" fmla="*/ 3 w 14"/>
                        <a:gd name="T23" fmla="*/ 18 h 33"/>
                        <a:gd name="T24" fmla="*/ 3 w 14"/>
                        <a:gd name="T25" fmla="*/ 22 h 33"/>
                        <a:gd name="T26" fmla="*/ 4 w 14"/>
                        <a:gd name="T27" fmla="*/ 25 h 33"/>
                        <a:gd name="T28" fmla="*/ 7 w 14"/>
                        <a:gd name="T29" fmla="*/ 28 h 33"/>
                        <a:gd name="T30" fmla="*/ 7 w 14"/>
                        <a:gd name="T31" fmla="*/ 31 h 33"/>
                        <a:gd name="T32" fmla="*/ 10 w 14"/>
                        <a:gd name="T33" fmla="*/ 32 h 33"/>
                        <a:gd name="T34" fmla="*/ 14 w 14"/>
                        <a:gd name="T35" fmla="*/ 31 h 33"/>
                        <a:gd name="T36" fmla="*/ 13 w 14"/>
                        <a:gd name="T37" fmla="*/ 23 h 33"/>
                        <a:gd name="T38" fmla="*/ 14 w 14"/>
                        <a:gd name="T39" fmla="*/ 15 h 33"/>
                        <a:gd name="T40" fmla="*/ 9 w 14"/>
                        <a:gd name="T41" fmla="*/ 19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4" h="33">
                          <a:moveTo>
                            <a:pt x="9" y="19"/>
                          </a:moveTo>
                          <a:cubicBezTo>
                            <a:pt x="7" y="17"/>
                            <a:pt x="9" y="13"/>
                            <a:pt x="9" y="10"/>
                          </a:cubicBezTo>
                          <a:cubicBezTo>
                            <a:pt x="10" y="7"/>
                            <a:pt x="9" y="5"/>
                            <a:pt x="8" y="3"/>
                          </a:cubicBezTo>
                          <a:cubicBezTo>
                            <a:pt x="8" y="3"/>
                            <a:pt x="8" y="4"/>
                            <a:pt x="8" y="4"/>
                          </a:cubicBezTo>
                          <a:cubicBezTo>
                            <a:pt x="8" y="2"/>
                            <a:pt x="8" y="2"/>
                            <a:pt x="8" y="2"/>
                          </a:cubicBezTo>
                          <a:cubicBezTo>
                            <a:pt x="8" y="3"/>
                            <a:pt x="8" y="3"/>
                            <a:pt x="8" y="3"/>
                          </a:cubicBezTo>
                          <a:cubicBezTo>
                            <a:pt x="8" y="1"/>
                            <a:pt x="7" y="0"/>
                            <a:pt x="6" y="0"/>
                          </a:cubicBezTo>
                          <a:cubicBezTo>
                            <a:pt x="6" y="2"/>
                            <a:pt x="4" y="4"/>
                            <a:pt x="4" y="6"/>
                          </a:cubicBezTo>
                          <a:cubicBezTo>
                            <a:pt x="4" y="8"/>
                            <a:pt x="5" y="10"/>
                            <a:pt x="3" y="12"/>
                          </a:cubicBezTo>
                          <a:cubicBezTo>
                            <a:pt x="5" y="14"/>
                            <a:pt x="3" y="17"/>
                            <a:pt x="1" y="15"/>
                          </a:cubicBezTo>
                          <a:cubicBezTo>
                            <a:pt x="1" y="15"/>
                            <a:pt x="0" y="16"/>
                            <a:pt x="1" y="17"/>
                          </a:cubicBezTo>
                          <a:cubicBezTo>
                            <a:pt x="1" y="17"/>
                            <a:pt x="2" y="18"/>
                            <a:pt x="3" y="18"/>
                          </a:cubicBezTo>
                          <a:cubicBezTo>
                            <a:pt x="3" y="19"/>
                            <a:pt x="2" y="20"/>
                            <a:pt x="3" y="22"/>
                          </a:cubicBezTo>
                          <a:cubicBezTo>
                            <a:pt x="4" y="22"/>
                            <a:pt x="3" y="24"/>
                            <a:pt x="4" y="25"/>
                          </a:cubicBezTo>
                          <a:cubicBezTo>
                            <a:pt x="4" y="27"/>
                            <a:pt x="6" y="27"/>
                            <a:pt x="7" y="28"/>
                          </a:cubicBezTo>
                          <a:cubicBezTo>
                            <a:pt x="7" y="29"/>
                            <a:pt x="6" y="30"/>
                            <a:pt x="7" y="31"/>
                          </a:cubicBezTo>
                          <a:cubicBezTo>
                            <a:pt x="8" y="33"/>
                            <a:pt x="7" y="33"/>
                            <a:pt x="10" y="32"/>
                          </a:cubicBezTo>
                          <a:cubicBezTo>
                            <a:pt x="11" y="32"/>
                            <a:pt x="12" y="31"/>
                            <a:pt x="14" y="31"/>
                          </a:cubicBezTo>
                          <a:cubicBezTo>
                            <a:pt x="14" y="29"/>
                            <a:pt x="13" y="26"/>
                            <a:pt x="13" y="23"/>
                          </a:cubicBezTo>
                          <a:cubicBezTo>
                            <a:pt x="13" y="20"/>
                            <a:pt x="14" y="18"/>
                            <a:pt x="14" y="15"/>
                          </a:cubicBezTo>
                          <a:cubicBezTo>
                            <a:pt x="11" y="15"/>
                            <a:pt x="11" y="17"/>
                            <a:pt x="9" y="19"/>
                          </a:cubicBezTo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8" name="Freeform 364">
                      <a:extLst>
                        <a:ext uri="{FF2B5EF4-FFF2-40B4-BE49-F238E27FC236}">
                          <a16:creationId xmlns:a16="http://schemas.microsoft.com/office/drawing/2014/main" xmlns="" id="{A4F9E158-E3C1-4A09-BC56-B6661524973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45238" y="5565776"/>
                      <a:ext cx="17463" cy="25400"/>
                    </a:xfrm>
                    <a:custGeom>
                      <a:avLst/>
                      <a:gdLst>
                        <a:gd name="T0" fmla="*/ 2 w 5"/>
                        <a:gd name="T1" fmla="*/ 0 h 7"/>
                        <a:gd name="T2" fmla="*/ 0 w 5"/>
                        <a:gd name="T3" fmla="*/ 7 h 7"/>
                        <a:gd name="T4" fmla="*/ 5 w 5"/>
                        <a:gd name="T5" fmla="*/ 7 h 7"/>
                        <a:gd name="T6" fmla="*/ 4 w 5"/>
                        <a:gd name="T7" fmla="*/ 3 h 7"/>
                        <a:gd name="T8" fmla="*/ 5 w 5"/>
                        <a:gd name="T9" fmla="*/ 1 h 7"/>
                        <a:gd name="T10" fmla="*/ 2 w 5"/>
                        <a:gd name="T11" fmla="*/ 0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" h="7">
                          <a:moveTo>
                            <a:pt x="2" y="0"/>
                          </a:moveTo>
                          <a:cubicBezTo>
                            <a:pt x="2" y="3"/>
                            <a:pt x="0" y="4"/>
                            <a:pt x="0" y="7"/>
                          </a:cubicBezTo>
                          <a:cubicBezTo>
                            <a:pt x="2" y="7"/>
                            <a:pt x="3" y="7"/>
                            <a:pt x="5" y="7"/>
                          </a:cubicBezTo>
                          <a:cubicBezTo>
                            <a:pt x="5" y="6"/>
                            <a:pt x="5" y="5"/>
                            <a:pt x="4" y="3"/>
                          </a:cubicBezTo>
                          <a:cubicBezTo>
                            <a:pt x="5" y="3"/>
                            <a:pt x="5" y="2"/>
                            <a:pt x="5" y="1"/>
                          </a:cubicBezTo>
                          <a:cubicBezTo>
                            <a:pt x="4" y="1"/>
                            <a:pt x="3" y="1"/>
                            <a:pt x="2" y="0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9" name="Freeform 365">
                      <a:extLst>
                        <a:ext uri="{FF2B5EF4-FFF2-40B4-BE49-F238E27FC236}">
                          <a16:creationId xmlns:a16="http://schemas.microsoft.com/office/drawing/2014/main" xmlns="" id="{596CD53B-A3E1-4DD3-BF90-89271F03A5F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62701" y="5986463"/>
                      <a:ext cx="17463" cy="31750"/>
                    </a:xfrm>
                    <a:custGeom>
                      <a:avLst/>
                      <a:gdLst>
                        <a:gd name="T0" fmla="*/ 3 w 5"/>
                        <a:gd name="T1" fmla="*/ 1 h 9"/>
                        <a:gd name="T2" fmla="*/ 2 w 5"/>
                        <a:gd name="T3" fmla="*/ 0 h 9"/>
                        <a:gd name="T4" fmla="*/ 0 w 5"/>
                        <a:gd name="T5" fmla="*/ 0 h 9"/>
                        <a:gd name="T6" fmla="*/ 0 w 5"/>
                        <a:gd name="T7" fmla="*/ 8 h 9"/>
                        <a:gd name="T8" fmla="*/ 2 w 5"/>
                        <a:gd name="T9" fmla="*/ 7 h 9"/>
                        <a:gd name="T10" fmla="*/ 4 w 5"/>
                        <a:gd name="T11" fmla="*/ 4 h 9"/>
                        <a:gd name="T12" fmla="*/ 5 w 5"/>
                        <a:gd name="T13" fmla="*/ 3 h 9"/>
                        <a:gd name="T14" fmla="*/ 3 w 5"/>
                        <a:gd name="T15" fmla="*/ 2 h 9"/>
                        <a:gd name="T16" fmla="*/ 3 w 5"/>
                        <a:gd name="T17" fmla="*/ 1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" h="9">
                          <a:moveTo>
                            <a:pt x="3" y="1"/>
                          </a:moveTo>
                          <a:cubicBezTo>
                            <a:pt x="2" y="0"/>
                            <a:pt x="2" y="0"/>
                            <a:pt x="2" y="0"/>
                          </a:cubicBezTo>
                          <a:cubicBezTo>
                            <a:pt x="2" y="0"/>
                            <a:pt x="1" y="0"/>
                            <a:pt x="0" y="0"/>
                          </a:cubicBezTo>
                          <a:cubicBezTo>
                            <a:pt x="0" y="3"/>
                            <a:pt x="0" y="6"/>
                            <a:pt x="0" y="8"/>
                          </a:cubicBezTo>
                          <a:cubicBezTo>
                            <a:pt x="0" y="9"/>
                            <a:pt x="2" y="7"/>
                            <a:pt x="2" y="7"/>
                          </a:cubicBezTo>
                          <a:cubicBezTo>
                            <a:pt x="3" y="6"/>
                            <a:pt x="4" y="4"/>
                            <a:pt x="4" y="4"/>
                          </a:cubicBezTo>
                          <a:cubicBezTo>
                            <a:pt x="4" y="3"/>
                            <a:pt x="4" y="3"/>
                            <a:pt x="5" y="3"/>
                          </a:cubicBezTo>
                          <a:cubicBezTo>
                            <a:pt x="4" y="3"/>
                            <a:pt x="4" y="3"/>
                            <a:pt x="3" y="2"/>
                          </a:cubicBezTo>
                          <a:cubicBezTo>
                            <a:pt x="3" y="2"/>
                            <a:pt x="3" y="1"/>
                            <a:pt x="3" y="1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0" name="Freeform 366">
                      <a:extLst>
                        <a:ext uri="{FF2B5EF4-FFF2-40B4-BE49-F238E27FC236}">
                          <a16:creationId xmlns:a16="http://schemas.microsoft.com/office/drawing/2014/main" xmlns="" id="{4EE7A8A9-D149-4AA5-AEB2-8869E9FF417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02376" y="5683251"/>
                      <a:ext cx="42863" cy="66675"/>
                    </a:xfrm>
                    <a:custGeom>
                      <a:avLst/>
                      <a:gdLst>
                        <a:gd name="T0" fmla="*/ 5 w 12"/>
                        <a:gd name="T1" fmla="*/ 5 h 19"/>
                        <a:gd name="T2" fmla="*/ 5 w 12"/>
                        <a:gd name="T3" fmla="*/ 7 h 19"/>
                        <a:gd name="T4" fmla="*/ 3 w 12"/>
                        <a:gd name="T5" fmla="*/ 7 h 19"/>
                        <a:gd name="T6" fmla="*/ 5 w 12"/>
                        <a:gd name="T7" fmla="*/ 18 h 19"/>
                        <a:gd name="T8" fmla="*/ 8 w 12"/>
                        <a:gd name="T9" fmla="*/ 16 h 19"/>
                        <a:gd name="T10" fmla="*/ 10 w 12"/>
                        <a:gd name="T11" fmla="*/ 14 h 19"/>
                        <a:gd name="T12" fmla="*/ 9 w 12"/>
                        <a:gd name="T13" fmla="*/ 0 h 19"/>
                        <a:gd name="T14" fmla="*/ 5 w 12"/>
                        <a:gd name="T15" fmla="*/ 5 h 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2" h="19">
                          <a:moveTo>
                            <a:pt x="5" y="5"/>
                          </a:moveTo>
                          <a:cubicBezTo>
                            <a:pt x="5" y="6"/>
                            <a:pt x="5" y="6"/>
                            <a:pt x="5" y="7"/>
                          </a:cubicBezTo>
                          <a:cubicBezTo>
                            <a:pt x="5" y="7"/>
                            <a:pt x="4" y="7"/>
                            <a:pt x="3" y="7"/>
                          </a:cubicBezTo>
                          <a:cubicBezTo>
                            <a:pt x="3" y="9"/>
                            <a:pt x="0" y="19"/>
                            <a:pt x="5" y="18"/>
                          </a:cubicBezTo>
                          <a:cubicBezTo>
                            <a:pt x="6" y="17"/>
                            <a:pt x="7" y="17"/>
                            <a:pt x="8" y="16"/>
                          </a:cubicBezTo>
                          <a:cubicBezTo>
                            <a:pt x="11" y="15"/>
                            <a:pt x="10" y="16"/>
                            <a:pt x="10" y="14"/>
                          </a:cubicBezTo>
                          <a:cubicBezTo>
                            <a:pt x="11" y="10"/>
                            <a:pt x="12" y="3"/>
                            <a:pt x="9" y="0"/>
                          </a:cubicBezTo>
                          <a:cubicBezTo>
                            <a:pt x="8" y="2"/>
                            <a:pt x="8" y="5"/>
                            <a:pt x="5" y="5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1" name="Freeform 367">
                      <a:extLst>
                        <a:ext uri="{FF2B5EF4-FFF2-40B4-BE49-F238E27FC236}">
                          <a16:creationId xmlns:a16="http://schemas.microsoft.com/office/drawing/2014/main" xmlns="" id="{69A16F77-60B1-47C0-9096-870B3731BDB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529388" y="6103938"/>
                      <a:ext cx="6350" cy="23813"/>
                    </a:xfrm>
                    <a:custGeom>
                      <a:avLst/>
                      <a:gdLst>
                        <a:gd name="T0" fmla="*/ 2 w 2"/>
                        <a:gd name="T1" fmla="*/ 2 h 7"/>
                        <a:gd name="T2" fmla="*/ 0 w 2"/>
                        <a:gd name="T3" fmla="*/ 5 h 7"/>
                        <a:gd name="T4" fmla="*/ 2 w 2"/>
                        <a:gd name="T5" fmla="*/ 6 h 7"/>
                        <a:gd name="T6" fmla="*/ 2 w 2"/>
                        <a:gd name="T7" fmla="*/ 4 h 7"/>
                        <a:gd name="T8" fmla="*/ 2 w 2"/>
                        <a:gd name="T9" fmla="*/ 2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" h="7">
                          <a:moveTo>
                            <a:pt x="2" y="2"/>
                          </a:moveTo>
                          <a:cubicBezTo>
                            <a:pt x="0" y="0"/>
                            <a:pt x="0" y="4"/>
                            <a:pt x="0" y="5"/>
                          </a:cubicBezTo>
                          <a:cubicBezTo>
                            <a:pt x="0" y="6"/>
                            <a:pt x="1" y="7"/>
                            <a:pt x="2" y="6"/>
                          </a:cubicBezTo>
                          <a:cubicBezTo>
                            <a:pt x="2" y="5"/>
                            <a:pt x="2" y="4"/>
                            <a:pt x="2" y="4"/>
                          </a:cubicBezTo>
                          <a:cubicBezTo>
                            <a:pt x="2" y="3"/>
                            <a:pt x="2" y="3"/>
                            <a:pt x="2" y="2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2" name="Freeform 368">
                      <a:extLst>
                        <a:ext uri="{FF2B5EF4-FFF2-40B4-BE49-F238E27FC236}">
                          <a16:creationId xmlns:a16="http://schemas.microsoft.com/office/drawing/2014/main" xmlns="" id="{4EF08E55-F157-4E70-930F-9BE5AAA645D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572251" y="6276976"/>
                      <a:ext cx="17463" cy="14288"/>
                    </a:xfrm>
                    <a:custGeom>
                      <a:avLst/>
                      <a:gdLst>
                        <a:gd name="T0" fmla="*/ 2 w 5"/>
                        <a:gd name="T1" fmla="*/ 4 h 4"/>
                        <a:gd name="T2" fmla="*/ 5 w 5"/>
                        <a:gd name="T3" fmla="*/ 4 h 4"/>
                        <a:gd name="T4" fmla="*/ 4 w 5"/>
                        <a:gd name="T5" fmla="*/ 2 h 4"/>
                        <a:gd name="T6" fmla="*/ 5 w 5"/>
                        <a:gd name="T7" fmla="*/ 0 h 4"/>
                        <a:gd name="T8" fmla="*/ 3 w 5"/>
                        <a:gd name="T9" fmla="*/ 0 h 4"/>
                        <a:gd name="T10" fmla="*/ 0 w 5"/>
                        <a:gd name="T11" fmla="*/ 3 h 4"/>
                        <a:gd name="T12" fmla="*/ 3 w 5"/>
                        <a:gd name="T13" fmla="*/ 4 h 4"/>
                        <a:gd name="T14" fmla="*/ 2 w 5"/>
                        <a:gd name="T15" fmla="*/ 4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" h="4">
                          <a:moveTo>
                            <a:pt x="2" y="4"/>
                          </a:moveTo>
                          <a:cubicBezTo>
                            <a:pt x="3" y="4"/>
                            <a:pt x="4" y="4"/>
                            <a:pt x="5" y="4"/>
                          </a:cubicBezTo>
                          <a:cubicBezTo>
                            <a:pt x="4" y="3"/>
                            <a:pt x="4" y="2"/>
                            <a:pt x="4" y="2"/>
                          </a:cubicBezTo>
                          <a:cubicBezTo>
                            <a:pt x="5" y="1"/>
                            <a:pt x="4" y="1"/>
                            <a:pt x="5" y="0"/>
                          </a:cubicBezTo>
                          <a:cubicBezTo>
                            <a:pt x="4" y="0"/>
                            <a:pt x="4" y="0"/>
                            <a:pt x="3" y="0"/>
                          </a:cubicBezTo>
                          <a:cubicBezTo>
                            <a:pt x="2" y="1"/>
                            <a:pt x="0" y="1"/>
                            <a:pt x="0" y="3"/>
                          </a:cubicBezTo>
                          <a:cubicBezTo>
                            <a:pt x="1" y="3"/>
                            <a:pt x="2" y="4"/>
                            <a:pt x="3" y="4"/>
                          </a:cubicBezTo>
                          <a:lnTo>
                            <a:pt x="2" y="4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3" name="Freeform 369">
                      <a:extLst>
                        <a:ext uri="{FF2B5EF4-FFF2-40B4-BE49-F238E27FC236}">
                          <a16:creationId xmlns:a16="http://schemas.microsoft.com/office/drawing/2014/main" xmlns="" id="{D67D2D22-2F7A-4FA6-9262-F341FB42D28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581776" y="6305551"/>
                      <a:ext cx="50800" cy="84138"/>
                    </a:xfrm>
                    <a:custGeom>
                      <a:avLst/>
                      <a:gdLst>
                        <a:gd name="T0" fmla="*/ 13 w 14"/>
                        <a:gd name="T1" fmla="*/ 11 h 24"/>
                        <a:gd name="T2" fmla="*/ 10 w 14"/>
                        <a:gd name="T3" fmla="*/ 8 h 24"/>
                        <a:gd name="T4" fmla="*/ 10 w 14"/>
                        <a:gd name="T5" fmla="*/ 1 h 24"/>
                        <a:gd name="T6" fmla="*/ 4 w 14"/>
                        <a:gd name="T7" fmla="*/ 3 h 24"/>
                        <a:gd name="T8" fmla="*/ 0 w 14"/>
                        <a:gd name="T9" fmla="*/ 3 h 24"/>
                        <a:gd name="T10" fmla="*/ 0 w 14"/>
                        <a:gd name="T11" fmla="*/ 11 h 24"/>
                        <a:gd name="T12" fmla="*/ 3 w 14"/>
                        <a:gd name="T13" fmla="*/ 12 h 24"/>
                        <a:gd name="T14" fmla="*/ 6 w 14"/>
                        <a:gd name="T15" fmla="*/ 24 h 24"/>
                        <a:gd name="T16" fmla="*/ 12 w 14"/>
                        <a:gd name="T17" fmla="*/ 24 h 24"/>
                        <a:gd name="T18" fmla="*/ 12 w 14"/>
                        <a:gd name="T19" fmla="*/ 18 h 24"/>
                        <a:gd name="T20" fmla="*/ 12 w 14"/>
                        <a:gd name="T21" fmla="*/ 14 h 24"/>
                        <a:gd name="T22" fmla="*/ 13 w 14"/>
                        <a:gd name="T23" fmla="*/ 11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4" h="24">
                          <a:moveTo>
                            <a:pt x="13" y="11"/>
                          </a:moveTo>
                          <a:cubicBezTo>
                            <a:pt x="13" y="9"/>
                            <a:pt x="11" y="9"/>
                            <a:pt x="10" y="8"/>
                          </a:cubicBezTo>
                          <a:cubicBezTo>
                            <a:pt x="9" y="7"/>
                            <a:pt x="10" y="1"/>
                            <a:pt x="10" y="1"/>
                          </a:cubicBezTo>
                          <a:cubicBezTo>
                            <a:pt x="8" y="1"/>
                            <a:pt x="5" y="0"/>
                            <a:pt x="4" y="3"/>
                          </a:cubicBezTo>
                          <a:cubicBezTo>
                            <a:pt x="3" y="3"/>
                            <a:pt x="1" y="3"/>
                            <a:pt x="0" y="3"/>
                          </a:cubicBezTo>
                          <a:cubicBezTo>
                            <a:pt x="0" y="6"/>
                            <a:pt x="0" y="9"/>
                            <a:pt x="0" y="11"/>
                          </a:cubicBezTo>
                          <a:cubicBezTo>
                            <a:pt x="1" y="12"/>
                            <a:pt x="2" y="12"/>
                            <a:pt x="3" y="12"/>
                          </a:cubicBezTo>
                          <a:cubicBezTo>
                            <a:pt x="5" y="16"/>
                            <a:pt x="6" y="20"/>
                            <a:pt x="6" y="24"/>
                          </a:cubicBezTo>
                          <a:cubicBezTo>
                            <a:pt x="8" y="24"/>
                            <a:pt x="10" y="24"/>
                            <a:pt x="12" y="24"/>
                          </a:cubicBezTo>
                          <a:cubicBezTo>
                            <a:pt x="12" y="22"/>
                            <a:pt x="13" y="20"/>
                            <a:pt x="12" y="18"/>
                          </a:cubicBezTo>
                          <a:cubicBezTo>
                            <a:pt x="12" y="16"/>
                            <a:pt x="11" y="16"/>
                            <a:pt x="12" y="14"/>
                          </a:cubicBezTo>
                          <a:cubicBezTo>
                            <a:pt x="12" y="13"/>
                            <a:pt x="14" y="12"/>
                            <a:pt x="13" y="11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4" name="Freeform 370">
                      <a:extLst>
                        <a:ext uri="{FF2B5EF4-FFF2-40B4-BE49-F238E27FC236}">
                          <a16:creationId xmlns:a16="http://schemas.microsoft.com/office/drawing/2014/main" xmlns="" id="{9078AAC5-2D8D-4D7D-8915-476F26BE8E0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457951" y="6153151"/>
                      <a:ext cx="7938" cy="9525"/>
                    </a:xfrm>
                    <a:custGeom>
                      <a:avLst/>
                      <a:gdLst>
                        <a:gd name="T0" fmla="*/ 1 w 2"/>
                        <a:gd name="T1" fmla="*/ 0 h 3"/>
                        <a:gd name="T2" fmla="*/ 2 w 2"/>
                        <a:gd name="T3" fmla="*/ 3 h 3"/>
                        <a:gd name="T4" fmla="*/ 2 w 2"/>
                        <a:gd name="T5" fmla="*/ 1 h 3"/>
                        <a:gd name="T6" fmla="*/ 1 w 2"/>
                        <a:gd name="T7" fmla="*/ 0 h 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" h="3">
                          <a:moveTo>
                            <a:pt x="1" y="0"/>
                          </a:moveTo>
                          <a:cubicBezTo>
                            <a:pt x="0" y="0"/>
                            <a:pt x="0" y="3"/>
                            <a:pt x="2" y="3"/>
                          </a:cubicBezTo>
                          <a:cubicBezTo>
                            <a:pt x="2" y="1"/>
                            <a:pt x="2" y="1"/>
                            <a:pt x="2" y="1"/>
                          </a:cubicBezTo>
                          <a:cubicBezTo>
                            <a:pt x="2" y="1"/>
                            <a:pt x="1" y="1"/>
                            <a:pt x="1" y="0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5" name="Freeform 371">
                      <a:extLst>
                        <a:ext uri="{FF2B5EF4-FFF2-40B4-BE49-F238E27FC236}">
                          <a16:creationId xmlns:a16="http://schemas.microsoft.com/office/drawing/2014/main" xmlns="" id="{4922D52D-2C8F-4C82-9CDA-E2FCE78F487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434138" y="6138863"/>
                      <a:ext cx="20638" cy="31750"/>
                    </a:xfrm>
                    <a:custGeom>
                      <a:avLst/>
                      <a:gdLst>
                        <a:gd name="T0" fmla="*/ 3 w 6"/>
                        <a:gd name="T1" fmla="*/ 3 h 9"/>
                        <a:gd name="T2" fmla="*/ 3 w 6"/>
                        <a:gd name="T3" fmla="*/ 0 h 9"/>
                        <a:gd name="T4" fmla="*/ 0 w 6"/>
                        <a:gd name="T5" fmla="*/ 0 h 9"/>
                        <a:gd name="T6" fmla="*/ 2 w 6"/>
                        <a:gd name="T7" fmla="*/ 9 h 9"/>
                        <a:gd name="T8" fmla="*/ 5 w 6"/>
                        <a:gd name="T9" fmla="*/ 9 h 9"/>
                        <a:gd name="T10" fmla="*/ 4 w 6"/>
                        <a:gd name="T11" fmla="*/ 5 h 9"/>
                        <a:gd name="T12" fmla="*/ 3 w 6"/>
                        <a:gd name="T13" fmla="*/ 3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" h="9">
                          <a:moveTo>
                            <a:pt x="3" y="3"/>
                          </a:moveTo>
                          <a:cubicBezTo>
                            <a:pt x="3" y="0"/>
                            <a:pt x="3" y="0"/>
                            <a:pt x="3" y="0"/>
                          </a:cubicBezTo>
                          <a:cubicBezTo>
                            <a:pt x="2" y="0"/>
                            <a:pt x="1" y="0"/>
                            <a:pt x="0" y="0"/>
                          </a:cubicBezTo>
                          <a:cubicBezTo>
                            <a:pt x="0" y="4"/>
                            <a:pt x="2" y="6"/>
                            <a:pt x="2" y="9"/>
                          </a:cubicBezTo>
                          <a:cubicBezTo>
                            <a:pt x="3" y="9"/>
                            <a:pt x="4" y="9"/>
                            <a:pt x="5" y="9"/>
                          </a:cubicBezTo>
                          <a:cubicBezTo>
                            <a:pt x="6" y="7"/>
                            <a:pt x="5" y="6"/>
                            <a:pt x="4" y="5"/>
                          </a:cubicBezTo>
                          <a:cubicBezTo>
                            <a:pt x="3" y="4"/>
                            <a:pt x="3" y="4"/>
                            <a:pt x="3" y="3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6" name="Freeform 372">
                      <a:extLst>
                        <a:ext uri="{FF2B5EF4-FFF2-40B4-BE49-F238E27FC236}">
                          <a16:creationId xmlns:a16="http://schemas.microsoft.com/office/drawing/2014/main" xmlns="" id="{E3B61BD7-807A-4F12-84C6-7065311F01D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503988" y="6162676"/>
                      <a:ext cx="22225" cy="46038"/>
                    </a:xfrm>
                    <a:custGeom>
                      <a:avLst/>
                      <a:gdLst>
                        <a:gd name="T0" fmla="*/ 5 w 6"/>
                        <a:gd name="T1" fmla="*/ 4 h 13"/>
                        <a:gd name="T2" fmla="*/ 4 w 6"/>
                        <a:gd name="T3" fmla="*/ 4 h 13"/>
                        <a:gd name="T4" fmla="*/ 3 w 6"/>
                        <a:gd name="T5" fmla="*/ 0 h 13"/>
                        <a:gd name="T6" fmla="*/ 3 w 6"/>
                        <a:gd name="T7" fmla="*/ 6 h 13"/>
                        <a:gd name="T8" fmla="*/ 3 w 6"/>
                        <a:gd name="T9" fmla="*/ 11 h 13"/>
                        <a:gd name="T10" fmla="*/ 5 w 6"/>
                        <a:gd name="T11" fmla="*/ 13 h 13"/>
                        <a:gd name="T12" fmla="*/ 6 w 6"/>
                        <a:gd name="T13" fmla="*/ 6 h 13"/>
                        <a:gd name="T14" fmla="*/ 5 w 6"/>
                        <a:gd name="T15" fmla="*/ 4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" h="13">
                          <a:moveTo>
                            <a:pt x="5" y="4"/>
                          </a:moveTo>
                          <a:cubicBezTo>
                            <a:pt x="4" y="4"/>
                            <a:pt x="4" y="4"/>
                            <a:pt x="4" y="4"/>
                          </a:cubicBezTo>
                          <a:cubicBezTo>
                            <a:pt x="4" y="2"/>
                            <a:pt x="4" y="1"/>
                            <a:pt x="3" y="0"/>
                          </a:cubicBezTo>
                          <a:cubicBezTo>
                            <a:pt x="1" y="1"/>
                            <a:pt x="0" y="5"/>
                            <a:pt x="3" y="6"/>
                          </a:cubicBezTo>
                          <a:cubicBezTo>
                            <a:pt x="3" y="8"/>
                            <a:pt x="3" y="9"/>
                            <a:pt x="3" y="11"/>
                          </a:cubicBezTo>
                          <a:cubicBezTo>
                            <a:pt x="4" y="11"/>
                            <a:pt x="5" y="12"/>
                            <a:pt x="5" y="13"/>
                          </a:cubicBezTo>
                          <a:cubicBezTo>
                            <a:pt x="5" y="11"/>
                            <a:pt x="6" y="9"/>
                            <a:pt x="6" y="6"/>
                          </a:cubicBezTo>
                          <a:cubicBezTo>
                            <a:pt x="6" y="5"/>
                            <a:pt x="5" y="5"/>
                            <a:pt x="5" y="4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7" name="Freeform 373">
                      <a:extLst>
                        <a:ext uri="{FF2B5EF4-FFF2-40B4-BE49-F238E27FC236}">
                          <a16:creationId xmlns:a16="http://schemas.microsoft.com/office/drawing/2014/main" xmlns="" id="{2465ED67-D062-4C38-BA93-2269C939066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483351" y="6205538"/>
                      <a:ext cx="25400" cy="11113"/>
                    </a:xfrm>
                    <a:custGeom>
                      <a:avLst/>
                      <a:gdLst>
                        <a:gd name="T0" fmla="*/ 5 w 7"/>
                        <a:gd name="T1" fmla="*/ 2 h 3"/>
                        <a:gd name="T2" fmla="*/ 1 w 7"/>
                        <a:gd name="T3" fmla="*/ 0 h 3"/>
                        <a:gd name="T4" fmla="*/ 0 w 7"/>
                        <a:gd name="T5" fmla="*/ 2 h 3"/>
                        <a:gd name="T6" fmla="*/ 7 w 7"/>
                        <a:gd name="T7" fmla="*/ 3 h 3"/>
                        <a:gd name="T8" fmla="*/ 5 w 7"/>
                        <a:gd name="T9" fmla="*/ 2 h 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" h="3">
                          <a:moveTo>
                            <a:pt x="5" y="2"/>
                          </a:moveTo>
                          <a:cubicBezTo>
                            <a:pt x="4" y="1"/>
                            <a:pt x="2" y="0"/>
                            <a:pt x="1" y="0"/>
                          </a:cubicBezTo>
                          <a:cubicBezTo>
                            <a:pt x="0" y="1"/>
                            <a:pt x="0" y="1"/>
                            <a:pt x="0" y="2"/>
                          </a:cubicBezTo>
                          <a:cubicBezTo>
                            <a:pt x="0" y="2"/>
                            <a:pt x="7" y="3"/>
                            <a:pt x="7" y="3"/>
                          </a:cubicBezTo>
                          <a:cubicBezTo>
                            <a:pt x="7" y="2"/>
                            <a:pt x="6" y="2"/>
                            <a:pt x="5" y="2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8" name="Freeform 374">
                      <a:extLst>
                        <a:ext uri="{FF2B5EF4-FFF2-40B4-BE49-F238E27FC236}">
                          <a16:creationId xmlns:a16="http://schemas.microsoft.com/office/drawing/2014/main" xmlns="" id="{856EFF99-FE16-453E-A83B-04523406363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419851" y="6118226"/>
                      <a:ext cx="14288" cy="12700"/>
                    </a:xfrm>
                    <a:custGeom>
                      <a:avLst/>
                      <a:gdLst>
                        <a:gd name="T0" fmla="*/ 2 w 4"/>
                        <a:gd name="T1" fmla="*/ 2 h 4"/>
                        <a:gd name="T2" fmla="*/ 1 w 4"/>
                        <a:gd name="T3" fmla="*/ 2 h 4"/>
                        <a:gd name="T4" fmla="*/ 3 w 4"/>
                        <a:gd name="T5" fmla="*/ 4 h 4"/>
                        <a:gd name="T6" fmla="*/ 2 w 4"/>
                        <a:gd name="T7" fmla="*/ 2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4" h="4">
                          <a:moveTo>
                            <a:pt x="2" y="2"/>
                          </a:moveTo>
                          <a:cubicBezTo>
                            <a:pt x="1" y="0"/>
                            <a:pt x="0" y="1"/>
                            <a:pt x="1" y="2"/>
                          </a:cubicBezTo>
                          <a:cubicBezTo>
                            <a:pt x="1" y="3"/>
                            <a:pt x="2" y="4"/>
                            <a:pt x="3" y="4"/>
                          </a:cubicBezTo>
                          <a:cubicBezTo>
                            <a:pt x="4" y="2"/>
                            <a:pt x="2" y="3"/>
                            <a:pt x="2" y="2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69" name="Freeform 375">
                      <a:extLst>
                        <a:ext uri="{FF2B5EF4-FFF2-40B4-BE49-F238E27FC236}">
                          <a16:creationId xmlns:a16="http://schemas.microsoft.com/office/drawing/2014/main" xmlns="" id="{90214DBC-F75E-41C0-A903-FC83E4040B7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221413" y="5522913"/>
                      <a:ext cx="7938" cy="17463"/>
                    </a:xfrm>
                    <a:custGeom>
                      <a:avLst/>
                      <a:gdLst>
                        <a:gd name="T0" fmla="*/ 0 w 2"/>
                        <a:gd name="T1" fmla="*/ 0 h 5"/>
                        <a:gd name="T2" fmla="*/ 0 w 2"/>
                        <a:gd name="T3" fmla="*/ 4 h 5"/>
                        <a:gd name="T4" fmla="*/ 2 w 2"/>
                        <a:gd name="T5" fmla="*/ 3 h 5"/>
                        <a:gd name="T6" fmla="*/ 2 w 2"/>
                        <a:gd name="T7" fmla="*/ 2 h 5"/>
                        <a:gd name="T8" fmla="*/ 0 w 2"/>
                        <a:gd name="T9" fmla="*/ 0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" h="5">
                          <a:moveTo>
                            <a:pt x="0" y="0"/>
                          </a:moveTo>
                          <a:cubicBezTo>
                            <a:pt x="0" y="1"/>
                            <a:pt x="0" y="3"/>
                            <a:pt x="0" y="4"/>
                          </a:cubicBezTo>
                          <a:cubicBezTo>
                            <a:pt x="2" y="5"/>
                            <a:pt x="1" y="4"/>
                            <a:pt x="2" y="3"/>
                          </a:cubicBezTo>
                          <a:cubicBezTo>
                            <a:pt x="2" y="2"/>
                            <a:pt x="2" y="2"/>
                            <a:pt x="2" y="2"/>
                          </a:cubicBezTo>
                          <a:cubicBezTo>
                            <a:pt x="1" y="2"/>
                            <a:pt x="1" y="1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0" name="Freeform 376">
                      <a:extLst>
                        <a:ext uri="{FF2B5EF4-FFF2-40B4-BE49-F238E27FC236}">
                          <a16:creationId xmlns:a16="http://schemas.microsoft.com/office/drawing/2014/main" xmlns="" id="{36666BD5-6AAD-4B80-8403-08252E0DBFA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253163" y="5583238"/>
                      <a:ext cx="14288" cy="14288"/>
                    </a:xfrm>
                    <a:custGeom>
                      <a:avLst/>
                      <a:gdLst>
                        <a:gd name="T0" fmla="*/ 2 w 4"/>
                        <a:gd name="T1" fmla="*/ 0 h 4"/>
                        <a:gd name="T2" fmla="*/ 1 w 4"/>
                        <a:gd name="T3" fmla="*/ 4 h 4"/>
                        <a:gd name="T4" fmla="*/ 4 w 4"/>
                        <a:gd name="T5" fmla="*/ 4 h 4"/>
                        <a:gd name="T6" fmla="*/ 3 w 4"/>
                        <a:gd name="T7" fmla="*/ 0 h 4"/>
                        <a:gd name="T8" fmla="*/ 2 w 4"/>
                        <a:gd name="T9" fmla="*/ 0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" h="4">
                          <a:moveTo>
                            <a:pt x="2" y="0"/>
                          </a:moveTo>
                          <a:cubicBezTo>
                            <a:pt x="1" y="1"/>
                            <a:pt x="0" y="2"/>
                            <a:pt x="1" y="4"/>
                          </a:cubicBezTo>
                          <a:cubicBezTo>
                            <a:pt x="2" y="4"/>
                            <a:pt x="3" y="4"/>
                            <a:pt x="4" y="4"/>
                          </a:cubicBezTo>
                          <a:cubicBezTo>
                            <a:pt x="4" y="2"/>
                            <a:pt x="4" y="1"/>
                            <a:pt x="3" y="0"/>
                          </a:cubicBezTo>
                          <a:lnTo>
                            <a:pt x="2" y="0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1" name="Freeform 377">
                      <a:extLst>
                        <a:ext uri="{FF2B5EF4-FFF2-40B4-BE49-F238E27FC236}">
                          <a16:creationId xmlns:a16="http://schemas.microsoft.com/office/drawing/2014/main" xmlns="" id="{80857A83-FE12-4F47-81D5-FD027B32D89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483351" y="5003801"/>
                      <a:ext cx="14288" cy="14288"/>
                    </a:xfrm>
                    <a:custGeom>
                      <a:avLst/>
                      <a:gdLst>
                        <a:gd name="T0" fmla="*/ 4 w 4"/>
                        <a:gd name="T1" fmla="*/ 3 h 4"/>
                        <a:gd name="T2" fmla="*/ 2 w 4"/>
                        <a:gd name="T3" fmla="*/ 4 h 4"/>
                        <a:gd name="T4" fmla="*/ 1 w 4"/>
                        <a:gd name="T5" fmla="*/ 0 h 4"/>
                        <a:gd name="T6" fmla="*/ 3 w 4"/>
                        <a:gd name="T7" fmla="*/ 1 h 4"/>
                        <a:gd name="T8" fmla="*/ 4 w 4"/>
                        <a:gd name="T9" fmla="*/ 3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" h="4">
                          <a:moveTo>
                            <a:pt x="4" y="3"/>
                          </a:moveTo>
                          <a:cubicBezTo>
                            <a:pt x="3" y="3"/>
                            <a:pt x="2" y="4"/>
                            <a:pt x="2" y="4"/>
                          </a:cubicBezTo>
                          <a:cubicBezTo>
                            <a:pt x="0" y="2"/>
                            <a:pt x="0" y="1"/>
                            <a:pt x="1" y="0"/>
                          </a:cubicBezTo>
                          <a:cubicBezTo>
                            <a:pt x="3" y="1"/>
                            <a:pt x="3" y="1"/>
                            <a:pt x="3" y="1"/>
                          </a:cubicBezTo>
                          <a:cubicBezTo>
                            <a:pt x="3" y="2"/>
                            <a:pt x="4" y="2"/>
                            <a:pt x="4" y="3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2" name="Freeform 378">
                      <a:extLst>
                        <a:ext uri="{FF2B5EF4-FFF2-40B4-BE49-F238E27FC236}">
                          <a16:creationId xmlns:a16="http://schemas.microsoft.com/office/drawing/2014/main" xmlns="" id="{19C53E73-F184-49A5-BB2B-A2A61655F1F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221413" y="5522913"/>
                      <a:ext cx="7938" cy="17463"/>
                    </a:xfrm>
                    <a:custGeom>
                      <a:avLst/>
                      <a:gdLst>
                        <a:gd name="T0" fmla="*/ 2 w 2"/>
                        <a:gd name="T1" fmla="*/ 3 h 5"/>
                        <a:gd name="T2" fmla="*/ 0 w 2"/>
                        <a:gd name="T3" fmla="*/ 4 h 5"/>
                        <a:gd name="T4" fmla="*/ 0 w 2"/>
                        <a:gd name="T5" fmla="*/ 0 h 5"/>
                        <a:gd name="T6" fmla="*/ 2 w 2"/>
                        <a:gd name="T7" fmla="*/ 2 h 5"/>
                        <a:gd name="T8" fmla="*/ 2 w 2"/>
                        <a:gd name="T9" fmla="*/ 3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" h="5">
                          <a:moveTo>
                            <a:pt x="2" y="3"/>
                          </a:moveTo>
                          <a:cubicBezTo>
                            <a:pt x="1" y="4"/>
                            <a:pt x="2" y="5"/>
                            <a:pt x="0" y="4"/>
                          </a:cubicBezTo>
                          <a:cubicBezTo>
                            <a:pt x="0" y="3"/>
                            <a:pt x="0" y="1"/>
                            <a:pt x="0" y="0"/>
                          </a:cubicBezTo>
                          <a:cubicBezTo>
                            <a:pt x="1" y="1"/>
                            <a:pt x="1" y="2"/>
                            <a:pt x="2" y="2"/>
                          </a:cubicBezTo>
                          <a:lnTo>
                            <a:pt x="2" y="3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3" name="Freeform 379">
                      <a:extLst>
                        <a:ext uri="{FF2B5EF4-FFF2-40B4-BE49-F238E27FC236}">
                          <a16:creationId xmlns:a16="http://schemas.microsoft.com/office/drawing/2014/main" xmlns="" id="{5F3A0FDC-F408-4533-9C83-2FCB0D962CB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253163" y="5583238"/>
                      <a:ext cx="14288" cy="14288"/>
                    </a:xfrm>
                    <a:custGeom>
                      <a:avLst/>
                      <a:gdLst>
                        <a:gd name="T0" fmla="*/ 4 w 4"/>
                        <a:gd name="T1" fmla="*/ 4 h 4"/>
                        <a:gd name="T2" fmla="*/ 1 w 4"/>
                        <a:gd name="T3" fmla="*/ 4 h 4"/>
                        <a:gd name="T4" fmla="*/ 2 w 4"/>
                        <a:gd name="T5" fmla="*/ 0 h 4"/>
                        <a:gd name="T6" fmla="*/ 3 w 4"/>
                        <a:gd name="T7" fmla="*/ 0 h 4"/>
                        <a:gd name="T8" fmla="*/ 4 w 4"/>
                        <a:gd name="T9" fmla="*/ 4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" h="4">
                          <a:moveTo>
                            <a:pt x="4" y="4"/>
                          </a:moveTo>
                          <a:cubicBezTo>
                            <a:pt x="3" y="4"/>
                            <a:pt x="2" y="4"/>
                            <a:pt x="1" y="4"/>
                          </a:cubicBezTo>
                          <a:cubicBezTo>
                            <a:pt x="0" y="2"/>
                            <a:pt x="1" y="1"/>
                            <a:pt x="2" y="0"/>
                          </a:cubicBezTo>
                          <a:cubicBezTo>
                            <a:pt x="3" y="0"/>
                            <a:pt x="3" y="0"/>
                            <a:pt x="3" y="0"/>
                          </a:cubicBezTo>
                          <a:cubicBezTo>
                            <a:pt x="4" y="1"/>
                            <a:pt x="4" y="2"/>
                            <a:pt x="4" y="4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4" name="Freeform 380">
                      <a:extLst>
                        <a:ext uri="{FF2B5EF4-FFF2-40B4-BE49-F238E27FC236}">
                          <a16:creationId xmlns:a16="http://schemas.microsoft.com/office/drawing/2014/main" xmlns="" id="{1724BF01-2556-4895-98C1-C68F3D03B7F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02376" y="5683251"/>
                      <a:ext cx="42863" cy="66675"/>
                    </a:xfrm>
                    <a:custGeom>
                      <a:avLst/>
                      <a:gdLst>
                        <a:gd name="T0" fmla="*/ 10 w 12"/>
                        <a:gd name="T1" fmla="*/ 14 h 19"/>
                        <a:gd name="T2" fmla="*/ 8 w 12"/>
                        <a:gd name="T3" fmla="*/ 16 h 19"/>
                        <a:gd name="T4" fmla="*/ 5 w 12"/>
                        <a:gd name="T5" fmla="*/ 18 h 19"/>
                        <a:gd name="T6" fmla="*/ 3 w 12"/>
                        <a:gd name="T7" fmla="*/ 7 h 19"/>
                        <a:gd name="T8" fmla="*/ 5 w 12"/>
                        <a:gd name="T9" fmla="*/ 7 h 19"/>
                        <a:gd name="T10" fmla="*/ 5 w 12"/>
                        <a:gd name="T11" fmla="*/ 5 h 19"/>
                        <a:gd name="T12" fmla="*/ 9 w 12"/>
                        <a:gd name="T13" fmla="*/ 0 h 19"/>
                        <a:gd name="T14" fmla="*/ 10 w 12"/>
                        <a:gd name="T15" fmla="*/ 14 h 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12" h="19">
                          <a:moveTo>
                            <a:pt x="10" y="14"/>
                          </a:moveTo>
                          <a:cubicBezTo>
                            <a:pt x="10" y="16"/>
                            <a:pt x="11" y="15"/>
                            <a:pt x="8" y="16"/>
                          </a:cubicBezTo>
                          <a:cubicBezTo>
                            <a:pt x="7" y="17"/>
                            <a:pt x="6" y="17"/>
                            <a:pt x="5" y="18"/>
                          </a:cubicBezTo>
                          <a:cubicBezTo>
                            <a:pt x="0" y="19"/>
                            <a:pt x="3" y="9"/>
                            <a:pt x="3" y="7"/>
                          </a:cubicBezTo>
                          <a:cubicBezTo>
                            <a:pt x="4" y="7"/>
                            <a:pt x="5" y="7"/>
                            <a:pt x="5" y="7"/>
                          </a:cubicBezTo>
                          <a:cubicBezTo>
                            <a:pt x="5" y="6"/>
                            <a:pt x="5" y="6"/>
                            <a:pt x="5" y="5"/>
                          </a:cubicBezTo>
                          <a:cubicBezTo>
                            <a:pt x="8" y="5"/>
                            <a:pt x="8" y="2"/>
                            <a:pt x="9" y="0"/>
                          </a:cubicBezTo>
                          <a:cubicBezTo>
                            <a:pt x="12" y="3"/>
                            <a:pt x="11" y="10"/>
                            <a:pt x="10" y="14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5" name="Freeform 381">
                      <a:extLst>
                        <a:ext uri="{FF2B5EF4-FFF2-40B4-BE49-F238E27FC236}">
                          <a16:creationId xmlns:a16="http://schemas.microsoft.com/office/drawing/2014/main" xmlns="" id="{34C364E3-C284-4E20-A4AC-CFC122F43408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45238" y="5565776"/>
                      <a:ext cx="17463" cy="25400"/>
                    </a:xfrm>
                    <a:custGeom>
                      <a:avLst/>
                      <a:gdLst>
                        <a:gd name="T0" fmla="*/ 5 w 5"/>
                        <a:gd name="T1" fmla="*/ 7 h 7"/>
                        <a:gd name="T2" fmla="*/ 0 w 5"/>
                        <a:gd name="T3" fmla="*/ 7 h 7"/>
                        <a:gd name="T4" fmla="*/ 2 w 5"/>
                        <a:gd name="T5" fmla="*/ 0 h 7"/>
                        <a:gd name="T6" fmla="*/ 5 w 5"/>
                        <a:gd name="T7" fmla="*/ 1 h 7"/>
                        <a:gd name="T8" fmla="*/ 4 w 5"/>
                        <a:gd name="T9" fmla="*/ 3 h 7"/>
                        <a:gd name="T10" fmla="*/ 5 w 5"/>
                        <a:gd name="T11" fmla="*/ 7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" h="7">
                          <a:moveTo>
                            <a:pt x="5" y="7"/>
                          </a:moveTo>
                          <a:cubicBezTo>
                            <a:pt x="3" y="7"/>
                            <a:pt x="2" y="7"/>
                            <a:pt x="0" y="7"/>
                          </a:cubicBezTo>
                          <a:cubicBezTo>
                            <a:pt x="0" y="4"/>
                            <a:pt x="2" y="3"/>
                            <a:pt x="2" y="0"/>
                          </a:cubicBezTo>
                          <a:cubicBezTo>
                            <a:pt x="3" y="1"/>
                            <a:pt x="4" y="1"/>
                            <a:pt x="5" y="1"/>
                          </a:cubicBezTo>
                          <a:cubicBezTo>
                            <a:pt x="5" y="2"/>
                            <a:pt x="5" y="3"/>
                            <a:pt x="4" y="3"/>
                          </a:cubicBezTo>
                          <a:cubicBezTo>
                            <a:pt x="5" y="5"/>
                            <a:pt x="5" y="6"/>
                            <a:pt x="5" y="7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6" name="Freeform 382">
                      <a:extLst>
                        <a:ext uri="{FF2B5EF4-FFF2-40B4-BE49-F238E27FC236}">
                          <a16:creationId xmlns:a16="http://schemas.microsoft.com/office/drawing/2014/main" xmlns="" id="{583DF6D7-6CC1-4013-8DB0-E1C91EF1E6D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62701" y="5986463"/>
                      <a:ext cx="17463" cy="31750"/>
                    </a:xfrm>
                    <a:custGeom>
                      <a:avLst/>
                      <a:gdLst>
                        <a:gd name="T0" fmla="*/ 4 w 5"/>
                        <a:gd name="T1" fmla="*/ 4 h 9"/>
                        <a:gd name="T2" fmla="*/ 2 w 5"/>
                        <a:gd name="T3" fmla="*/ 7 h 9"/>
                        <a:gd name="T4" fmla="*/ 0 w 5"/>
                        <a:gd name="T5" fmla="*/ 8 h 9"/>
                        <a:gd name="T6" fmla="*/ 0 w 5"/>
                        <a:gd name="T7" fmla="*/ 0 h 9"/>
                        <a:gd name="T8" fmla="*/ 2 w 5"/>
                        <a:gd name="T9" fmla="*/ 0 h 9"/>
                        <a:gd name="T10" fmla="*/ 3 w 5"/>
                        <a:gd name="T11" fmla="*/ 1 h 9"/>
                        <a:gd name="T12" fmla="*/ 3 w 5"/>
                        <a:gd name="T13" fmla="*/ 2 h 9"/>
                        <a:gd name="T14" fmla="*/ 5 w 5"/>
                        <a:gd name="T15" fmla="*/ 3 h 9"/>
                        <a:gd name="T16" fmla="*/ 4 w 5"/>
                        <a:gd name="T17" fmla="*/ 4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" h="9">
                          <a:moveTo>
                            <a:pt x="4" y="4"/>
                          </a:moveTo>
                          <a:cubicBezTo>
                            <a:pt x="4" y="4"/>
                            <a:pt x="3" y="6"/>
                            <a:pt x="2" y="7"/>
                          </a:cubicBezTo>
                          <a:cubicBezTo>
                            <a:pt x="2" y="7"/>
                            <a:pt x="0" y="9"/>
                            <a:pt x="0" y="8"/>
                          </a:cubicBezTo>
                          <a:cubicBezTo>
                            <a:pt x="0" y="6"/>
                            <a:pt x="0" y="3"/>
                            <a:pt x="0" y="0"/>
                          </a:cubicBezTo>
                          <a:cubicBezTo>
                            <a:pt x="1" y="0"/>
                            <a:pt x="2" y="0"/>
                            <a:pt x="2" y="0"/>
                          </a:cubicBezTo>
                          <a:cubicBezTo>
                            <a:pt x="3" y="1"/>
                            <a:pt x="3" y="1"/>
                            <a:pt x="3" y="1"/>
                          </a:cubicBezTo>
                          <a:cubicBezTo>
                            <a:pt x="3" y="1"/>
                            <a:pt x="3" y="2"/>
                            <a:pt x="3" y="2"/>
                          </a:cubicBezTo>
                          <a:cubicBezTo>
                            <a:pt x="4" y="3"/>
                            <a:pt x="4" y="3"/>
                            <a:pt x="5" y="3"/>
                          </a:cubicBezTo>
                          <a:cubicBezTo>
                            <a:pt x="4" y="3"/>
                            <a:pt x="4" y="3"/>
                            <a:pt x="4" y="4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7" name="Freeform 383">
                      <a:extLst>
                        <a:ext uri="{FF2B5EF4-FFF2-40B4-BE49-F238E27FC236}">
                          <a16:creationId xmlns:a16="http://schemas.microsoft.com/office/drawing/2014/main" xmlns="" id="{02C6F3F9-6268-4717-B72C-B569735E524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30951" y="5448301"/>
                      <a:ext cx="49213" cy="117475"/>
                    </a:xfrm>
                    <a:custGeom>
                      <a:avLst/>
                      <a:gdLst>
                        <a:gd name="T0" fmla="*/ 14 w 14"/>
                        <a:gd name="T1" fmla="*/ 31 h 33"/>
                        <a:gd name="T2" fmla="*/ 10 w 14"/>
                        <a:gd name="T3" fmla="*/ 32 h 33"/>
                        <a:gd name="T4" fmla="*/ 7 w 14"/>
                        <a:gd name="T5" fmla="*/ 31 h 33"/>
                        <a:gd name="T6" fmla="*/ 7 w 14"/>
                        <a:gd name="T7" fmla="*/ 28 h 33"/>
                        <a:gd name="T8" fmla="*/ 4 w 14"/>
                        <a:gd name="T9" fmla="*/ 25 h 33"/>
                        <a:gd name="T10" fmla="*/ 3 w 14"/>
                        <a:gd name="T11" fmla="*/ 22 h 33"/>
                        <a:gd name="T12" fmla="*/ 3 w 14"/>
                        <a:gd name="T13" fmla="*/ 18 h 33"/>
                        <a:gd name="T14" fmla="*/ 1 w 14"/>
                        <a:gd name="T15" fmla="*/ 17 h 33"/>
                        <a:gd name="T16" fmla="*/ 1 w 14"/>
                        <a:gd name="T17" fmla="*/ 15 h 33"/>
                        <a:gd name="T18" fmla="*/ 3 w 14"/>
                        <a:gd name="T19" fmla="*/ 12 h 33"/>
                        <a:gd name="T20" fmla="*/ 4 w 14"/>
                        <a:gd name="T21" fmla="*/ 6 h 33"/>
                        <a:gd name="T22" fmla="*/ 6 w 14"/>
                        <a:gd name="T23" fmla="*/ 0 h 33"/>
                        <a:gd name="T24" fmla="*/ 8 w 14"/>
                        <a:gd name="T25" fmla="*/ 3 h 33"/>
                        <a:gd name="T26" fmla="*/ 8 w 14"/>
                        <a:gd name="T27" fmla="*/ 2 h 33"/>
                        <a:gd name="T28" fmla="*/ 8 w 14"/>
                        <a:gd name="T29" fmla="*/ 4 h 33"/>
                        <a:gd name="T30" fmla="*/ 8 w 14"/>
                        <a:gd name="T31" fmla="*/ 3 h 33"/>
                        <a:gd name="T32" fmla="*/ 9 w 14"/>
                        <a:gd name="T33" fmla="*/ 10 h 33"/>
                        <a:gd name="T34" fmla="*/ 9 w 14"/>
                        <a:gd name="T35" fmla="*/ 19 h 33"/>
                        <a:gd name="T36" fmla="*/ 14 w 14"/>
                        <a:gd name="T37" fmla="*/ 15 h 33"/>
                        <a:gd name="T38" fmla="*/ 13 w 14"/>
                        <a:gd name="T39" fmla="*/ 23 h 33"/>
                        <a:gd name="T40" fmla="*/ 14 w 14"/>
                        <a:gd name="T41" fmla="*/ 31 h 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4" h="33">
                          <a:moveTo>
                            <a:pt x="14" y="31"/>
                          </a:moveTo>
                          <a:cubicBezTo>
                            <a:pt x="12" y="31"/>
                            <a:pt x="11" y="32"/>
                            <a:pt x="10" y="32"/>
                          </a:cubicBezTo>
                          <a:cubicBezTo>
                            <a:pt x="7" y="33"/>
                            <a:pt x="8" y="33"/>
                            <a:pt x="7" y="31"/>
                          </a:cubicBezTo>
                          <a:cubicBezTo>
                            <a:pt x="6" y="30"/>
                            <a:pt x="7" y="29"/>
                            <a:pt x="7" y="28"/>
                          </a:cubicBezTo>
                          <a:cubicBezTo>
                            <a:pt x="6" y="27"/>
                            <a:pt x="4" y="27"/>
                            <a:pt x="4" y="25"/>
                          </a:cubicBezTo>
                          <a:cubicBezTo>
                            <a:pt x="3" y="24"/>
                            <a:pt x="4" y="22"/>
                            <a:pt x="3" y="22"/>
                          </a:cubicBezTo>
                          <a:cubicBezTo>
                            <a:pt x="2" y="20"/>
                            <a:pt x="3" y="19"/>
                            <a:pt x="3" y="18"/>
                          </a:cubicBezTo>
                          <a:cubicBezTo>
                            <a:pt x="2" y="18"/>
                            <a:pt x="1" y="17"/>
                            <a:pt x="1" y="17"/>
                          </a:cubicBezTo>
                          <a:cubicBezTo>
                            <a:pt x="0" y="16"/>
                            <a:pt x="1" y="15"/>
                            <a:pt x="1" y="15"/>
                          </a:cubicBezTo>
                          <a:cubicBezTo>
                            <a:pt x="3" y="17"/>
                            <a:pt x="5" y="14"/>
                            <a:pt x="3" y="12"/>
                          </a:cubicBezTo>
                          <a:cubicBezTo>
                            <a:pt x="5" y="10"/>
                            <a:pt x="4" y="8"/>
                            <a:pt x="4" y="6"/>
                          </a:cubicBezTo>
                          <a:cubicBezTo>
                            <a:pt x="4" y="4"/>
                            <a:pt x="6" y="2"/>
                            <a:pt x="6" y="0"/>
                          </a:cubicBezTo>
                          <a:cubicBezTo>
                            <a:pt x="7" y="0"/>
                            <a:pt x="8" y="1"/>
                            <a:pt x="8" y="3"/>
                          </a:cubicBezTo>
                          <a:cubicBezTo>
                            <a:pt x="8" y="2"/>
                            <a:pt x="8" y="2"/>
                            <a:pt x="8" y="2"/>
                          </a:cubicBezTo>
                          <a:cubicBezTo>
                            <a:pt x="8" y="4"/>
                            <a:pt x="8" y="4"/>
                            <a:pt x="8" y="4"/>
                          </a:cubicBezTo>
                          <a:cubicBezTo>
                            <a:pt x="8" y="4"/>
                            <a:pt x="8" y="3"/>
                            <a:pt x="8" y="3"/>
                          </a:cubicBezTo>
                          <a:cubicBezTo>
                            <a:pt x="9" y="5"/>
                            <a:pt x="10" y="7"/>
                            <a:pt x="9" y="10"/>
                          </a:cubicBezTo>
                          <a:cubicBezTo>
                            <a:pt x="9" y="13"/>
                            <a:pt x="7" y="17"/>
                            <a:pt x="9" y="19"/>
                          </a:cubicBezTo>
                          <a:cubicBezTo>
                            <a:pt x="11" y="17"/>
                            <a:pt x="11" y="15"/>
                            <a:pt x="14" y="15"/>
                          </a:cubicBezTo>
                          <a:cubicBezTo>
                            <a:pt x="14" y="18"/>
                            <a:pt x="13" y="20"/>
                            <a:pt x="13" y="23"/>
                          </a:cubicBezTo>
                          <a:cubicBezTo>
                            <a:pt x="13" y="26"/>
                            <a:pt x="14" y="29"/>
                            <a:pt x="14" y="31"/>
                          </a:cubicBezTo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8" name="Freeform 384">
                      <a:extLst>
                        <a:ext uri="{FF2B5EF4-FFF2-40B4-BE49-F238E27FC236}">
                          <a16:creationId xmlns:a16="http://schemas.microsoft.com/office/drawing/2014/main" xmlns="" id="{B0BB91B2-0498-44AC-9FD0-D7B35AE750B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70638" y="5427663"/>
                      <a:ext cx="14288" cy="25400"/>
                    </a:xfrm>
                    <a:custGeom>
                      <a:avLst/>
                      <a:gdLst>
                        <a:gd name="T0" fmla="*/ 3 w 4"/>
                        <a:gd name="T1" fmla="*/ 7 h 7"/>
                        <a:gd name="T2" fmla="*/ 0 w 4"/>
                        <a:gd name="T3" fmla="*/ 7 h 7"/>
                        <a:gd name="T4" fmla="*/ 0 w 4"/>
                        <a:gd name="T5" fmla="*/ 3 h 7"/>
                        <a:gd name="T6" fmla="*/ 3 w 4"/>
                        <a:gd name="T7" fmla="*/ 1 h 7"/>
                        <a:gd name="T8" fmla="*/ 3 w 4"/>
                        <a:gd name="T9" fmla="*/ 7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" h="7">
                          <a:moveTo>
                            <a:pt x="3" y="7"/>
                          </a:move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0" y="6"/>
                            <a:pt x="0" y="4"/>
                            <a:pt x="0" y="3"/>
                          </a:cubicBezTo>
                          <a:cubicBezTo>
                            <a:pt x="1" y="1"/>
                            <a:pt x="2" y="0"/>
                            <a:pt x="3" y="1"/>
                          </a:cubicBezTo>
                          <a:cubicBezTo>
                            <a:pt x="4" y="2"/>
                            <a:pt x="4" y="7"/>
                            <a:pt x="3" y="7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79" name="Freeform 385">
                      <a:extLst>
                        <a:ext uri="{FF2B5EF4-FFF2-40B4-BE49-F238E27FC236}">
                          <a16:creationId xmlns:a16="http://schemas.microsoft.com/office/drawing/2014/main" xmlns="" id="{9A9A1730-BFCA-414C-A78C-CED2C84B88C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48413" y="5332413"/>
                      <a:ext cx="46038" cy="88900"/>
                    </a:xfrm>
                    <a:custGeom>
                      <a:avLst/>
                      <a:gdLst>
                        <a:gd name="T0" fmla="*/ 12 w 13"/>
                        <a:gd name="T1" fmla="*/ 17 h 25"/>
                        <a:gd name="T2" fmla="*/ 9 w 13"/>
                        <a:gd name="T3" fmla="*/ 17 h 25"/>
                        <a:gd name="T4" fmla="*/ 10 w 13"/>
                        <a:gd name="T5" fmla="*/ 25 h 25"/>
                        <a:gd name="T6" fmla="*/ 2 w 13"/>
                        <a:gd name="T7" fmla="*/ 25 h 25"/>
                        <a:gd name="T8" fmla="*/ 1 w 13"/>
                        <a:gd name="T9" fmla="*/ 16 h 25"/>
                        <a:gd name="T10" fmla="*/ 3 w 13"/>
                        <a:gd name="T11" fmla="*/ 10 h 25"/>
                        <a:gd name="T12" fmla="*/ 3 w 13"/>
                        <a:gd name="T13" fmla="*/ 2 h 25"/>
                        <a:gd name="T14" fmla="*/ 11 w 13"/>
                        <a:gd name="T15" fmla="*/ 1 h 25"/>
                        <a:gd name="T16" fmla="*/ 12 w 13"/>
                        <a:gd name="T17" fmla="*/ 10 h 25"/>
                        <a:gd name="T18" fmla="*/ 13 w 13"/>
                        <a:gd name="T19" fmla="*/ 14 h 25"/>
                        <a:gd name="T20" fmla="*/ 12 w 13"/>
                        <a:gd name="T21" fmla="*/ 17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3" h="25">
                          <a:moveTo>
                            <a:pt x="12" y="17"/>
                          </a:moveTo>
                          <a:cubicBezTo>
                            <a:pt x="11" y="17"/>
                            <a:pt x="10" y="17"/>
                            <a:pt x="9" y="17"/>
                          </a:cubicBezTo>
                          <a:cubicBezTo>
                            <a:pt x="9" y="20"/>
                            <a:pt x="10" y="22"/>
                            <a:pt x="10" y="25"/>
                          </a:cubicBezTo>
                          <a:cubicBezTo>
                            <a:pt x="7" y="25"/>
                            <a:pt x="4" y="25"/>
                            <a:pt x="2" y="25"/>
                          </a:cubicBezTo>
                          <a:cubicBezTo>
                            <a:pt x="2" y="22"/>
                            <a:pt x="0" y="19"/>
                            <a:pt x="1" y="16"/>
                          </a:cubicBezTo>
                          <a:cubicBezTo>
                            <a:pt x="1" y="14"/>
                            <a:pt x="3" y="12"/>
                            <a:pt x="3" y="10"/>
                          </a:cubicBezTo>
                          <a:cubicBezTo>
                            <a:pt x="4" y="8"/>
                            <a:pt x="2" y="3"/>
                            <a:pt x="3" y="2"/>
                          </a:cubicBezTo>
                          <a:cubicBezTo>
                            <a:pt x="4" y="1"/>
                            <a:pt x="10" y="0"/>
                            <a:pt x="11" y="1"/>
                          </a:cubicBezTo>
                          <a:cubicBezTo>
                            <a:pt x="13" y="3"/>
                            <a:pt x="11" y="8"/>
                            <a:pt x="12" y="10"/>
                          </a:cubicBezTo>
                          <a:cubicBezTo>
                            <a:pt x="12" y="12"/>
                            <a:pt x="13" y="12"/>
                            <a:pt x="13" y="14"/>
                          </a:cubicBezTo>
                          <a:cubicBezTo>
                            <a:pt x="13" y="15"/>
                            <a:pt x="12" y="16"/>
                            <a:pt x="12" y="17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80" name="Freeform 386">
                      <a:extLst>
                        <a:ext uri="{FF2B5EF4-FFF2-40B4-BE49-F238E27FC236}">
                          <a16:creationId xmlns:a16="http://schemas.microsoft.com/office/drawing/2014/main" xmlns="" id="{D25BAEF9-F72A-46E6-8900-AF99FE902A7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59526" y="5191126"/>
                      <a:ext cx="42863" cy="138113"/>
                    </a:xfrm>
                    <a:custGeom>
                      <a:avLst/>
                      <a:gdLst>
                        <a:gd name="T0" fmla="*/ 11 w 12"/>
                        <a:gd name="T1" fmla="*/ 19 h 39"/>
                        <a:gd name="T2" fmla="*/ 11 w 12"/>
                        <a:gd name="T3" fmla="*/ 23 h 39"/>
                        <a:gd name="T4" fmla="*/ 11 w 12"/>
                        <a:gd name="T5" fmla="*/ 31 h 39"/>
                        <a:gd name="T6" fmla="*/ 8 w 12"/>
                        <a:gd name="T7" fmla="*/ 31 h 39"/>
                        <a:gd name="T8" fmla="*/ 8 w 12"/>
                        <a:gd name="T9" fmla="*/ 28 h 39"/>
                        <a:gd name="T10" fmla="*/ 5 w 12"/>
                        <a:gd name="T11" fmla="*/ 28 h 39"/>
                        <a:gd name="T12" fmla="*/ 6 w 12"/>
                        <a:gd name="T13" fmla="*/ 37 h 39"/>
                        <a:gd name="T14" fmla="*/ 1 w 12"/>
                        <a:gd name="T15" fmla="*/ 37 h 39"/>
                        <a:gd name="T16" fmla="*/ 1 w 12"/>
                        <a:gd name="T17" fmla="*/ 33 h 39"/>
                        <a:gd name="T18" fmla="*/ 3 w 12"/>
                        <a:gd name="T19" fmla="*/ 23 h 39"/>
                        <a:gd name="T20" fmla="*/ 3 w 12"/>
                        <a:gd name="T21" fmla="*/ 13 h 39"/>
                        <a:gd name="T22" fmla="*/ 6 w 12"/>
                        <a:gd name="T23" fmla="*/ 7 h 39"/>
                        <a:gd name="T24" fmla="*/ 11 w 12"/>
                        <a:gd name="T25" fmla="*/ 12 h 39"/>
                        <a:gd name="T26" fmla="*/ 11 w 12"/>
                        <a:gd name="T27" fmla="*/ 14 h 39"/>
                        <a:gd name="T28" fmla="*/ 8 w 12"/>
                        <a:gd name="T29" fmla="*/ 16 h 39"/>
                        <a:gd name="T30" fmla="*/ 11 w 12"/>
                        <a:gd name="T31" fmla="*/ 19 h 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12" h="39">
                          <a:moveTo>
                            <a:pt x="11" y="19"/>
                          </a:moveTo>
                          <a:cubicBezTo>
                            <a:pt x="11" y="19"/>
                            <a:pt x="11" y="22"/>
                            <a:pt x="11" y="23"/>
                          </a:cubicBezTo>
                          <a:cubicBezTo>
                            <a:pt x="11" y="26"/>
                            <a:pt x="11" y="28"/>
                            <a:pt x="11" y="31"/>
                          </a:cubicBezTo>
                          <a:cubicBezTo>
                            <a:pt x="10" y="31"/>
                            <a:pt x="9" y="31"/>
                            <a:pt x="8" y="31"/>
                          </a:cubicBezTo>
                          <a:cubicBezTo>
                            <a:pt x="8" y="30"/>
                            <a:pt x="8" y="29"/>
                            <a:pt x="8" y="28"/>
                          </a:cubicBezTo>
                          <a:cubicBezTo>
                            <a:pt x="7" y="28"/>
                            <a:pt x="6" y="28"/>
                            <a:pt x="5" y="28"/>
                          </a:cubicBezTo>
                          <a:cubicBezTo>
                            <a:pt x="4" y="30"/>
                            <a:pt x="8" y="35"/>
                            <a:pt x="6" y="37"/>
                          </a:cubicBezTo>
                          <a:cubicBezTo>
                            <a:pt x="5" y="38"/>
                            <a:pt x="2" y="39"/>
                            <a:pt x="1" y="37"/>
                          </a:cubicBezTo>
                          <a:cubicBezTo>
                            <a:pt x="0" y="36"/>
                            <a:pt x="1" y="34"/>
                            <a:pt x="1" y="33"/>
                          </a:cubicBezTo>
                          <a:cubicBezTo>
                            <a:pt x="2" y="30"/>
                            <a:pt x="3" y="27"/>
                            <a:pt x="3" y="23"/>
                          </a:cubicBezTo>
                          <a:cubicBezTo>
                            <a:pt x="3" y="20"/>
                            <a:pt x="2" y="16"/>
                            <a:pt x="3" y="13"/>
                          </a:cubicBezTo>
                          <a:cubicBezTo>
                            <a:pt x="6" y="13"/>
                            <a:pt x="5" y="9"/>
                            <a:pt x="6" y="7"/>
                          </a:cubicBezTo>
                          <a:cubicBezTo>
                            <a:pt x="9" y="0"/>
                            <a:pt x="11" y="9"/>
                            <a:pt x="11" y="12"/>
                          </a:cubicBezTo>
                          <a:cubicBezTo>
                            <a:pt x="11" y="14"/>
                            <a:pt x="12" y="12"/>
                            <a:pt x="11" y="14"/>
                          </a:cubicBezTo>
                          <a:cubicBezTo>
                            <a:pt x="10" y="15"/>
                            <a:pt x="8" y="15"/>
                            <a:pt x="8" y="16"/>
                          </a:cubicBezTo>
                          <a:cubicBezTo>
                            <a:pt x="8" y="18"/>
                            <a:pt x="10" y="18"/>
                            <a:pt x="11" y="19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81" name="Freeform 387">
                      <a:extLst>
                        <a:ext uri="{FF2B5EF4-FFF2-40B4-BE49-F238E27FC236}">
                          <a16:creationId xmlns:a16="http://schemas.microsoft.com/office/drawing/2014/main" xmlns="" id="{1F89F87B-2859-40E8-9392-D0128D7ECF6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419851" y="6118226"/>
                      <a:ext cx="14288" cy="12700"/>
                    </a:xfrm>
                    <a:custGeom>
                      <a:avLst/>
                      <a:gdLst>
                        <a:gd name="T0" fmla="*/ 3 w 4"/>
                        <a:gd name="T1" fmla="*/ 4 h 4"/>
                        <a:gd name="T2" fmla="*/ 1 w 4"/>
                        <a:gd name="T3" fmla="*/ 2 h 4"/>
                        <a:gd name="T4" fmla="*/ 2 w 4"/>
                        <a:gd name="T5" fmla="*/ 2 h 4"/>
                        <a:gd name="T6" fmla="*/ 3 w 4"/>
                        <a:gd name="T7" fmla="*/ 4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4" h="4">
                          <a:moveTo>
                            <a:pt x="3" y="4"/>
                          </a:moveTo>
                          <a:cubicBezTo>
                            <a:pt x="2" y="4"/>
                            <a:pt x="1" y="3"/>
                            <a:pt x="1" y="2"/>
                          </a:cubicBezTo>
                          <a:cubicBezTo>
                            <a:pt x="0" y="1"/>
                            <a:pt x="1" y="0"/>
                            <a:pt x="2" y="2"/>
                          </a:cubicBezTo>
                          <a:cubicBezTo>
                            <a:pt x="2" y="3"/>
                            <a:pt x="4" y="2"/>
                            <a:pt x="3" y="4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82" name="Freeform 388">
                      <a:extLst>
                        <a:ext uri="{FF2B5EF4-FFF2-40B4-BE49-F238E27FC236}">
                          <a16:creationId xmlns:a16="http://schemas.microsoft.com/office/drawing/2014/main" xmlns="" id="{FB9E0293-07D1-463F-AFB4-F1DD94E12D5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434138" y="6138863"/>
                      <a:ext cx="20638" cy="31750"/>
                    </a:xfrm>
                    <a:custGeom>
                      <a:avLst/>
                      <a:gdLst>
                        <a:gd name="T0" fmla="*/ 5 w 6"/>
                        <a:gd name="T1" fmla="*/ 9 h 9"/>
                        <a:gd name="T2" fmla="*/ 2 w 6"/>
                        <a:gd name="T3" fmla="*/ 9 h 9"/>
                        <a:gd name="T4" fmla="*/ 0 w 6"/>
                        <a:gd name="T5" fmla="*/ 0 h 9"/>
                        <a:gd name="T6" fmla="*/ 3 w 6"/>
                        <a:gd name="T7" fmla="*/ 0 h 9"/>
                        <a:gd name="T8" fmla="*/ 3 w 6"/>
                        <a:gd name="T9" fmla="*/ 3 h 9"/>
                        <a:gd name="T10" fmla="*/ 4 w 6"/>
                        <a:gd name="T11" fmla="*/ 5 h 9"/>
                        <a:gd name="T12" fmla="*/ 5 w 6"/>
                        <a:gd name="T13" fmla="*/ 9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" h="9">
                          <a:moveTo>
                            <a:pt x="5" y="9"/>
                          </a:moveTo>
                          <a:cubicBezTo>
                            <a:pt x="4" y="9"/>
                            <a:pt x="3" y="9"/>
                            <a:pt x="2" y="9"/>
                          </a:cubicBezTo>
                          <a:cubicBezTo>
                            <a:pt x="2" y="6"/>
                            <a:pt x="0" y="4"/>
                            <a:pt x="0" y="0"/>
                          </a:cubicBezTo>
                          <a:cubicBezTo>
                            <a:pt x="1" y="0"/>
                            <a:pt x="2" y="0"/>
                            <a:pt x="3" y="0"/>
                          </a:cubicBezTo>
                          <a:cubicBezTo>
                            <a:pt x="3" y="3"/>
                            <a:pt x="3" y="3"/>
                            <a:pt x="3" y="3"/>
                          </a:cubicBezTo>
                          <a:cubicBezTo>
                            <a:pt x="3" y="4"/>
                            <a:pt x="3" y="4"/>
                            <a:pt x="4" y="5"/>
                          </a:cubicBezTo>
                          <a:cubicBezTo>
                            <a:pt x="5" y="6"/>
                            <a:pt x="6" y="7"/>
                            <a:pt x="5" y="9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83" name="Freeform 389">
                      <a:extLst>
                        <a:ext uri="{FF2B5EF4-FFF2-40B4-BE49-F238E27FC236}">
                          <a16:creationId xmlns:a16="http://schemas.microsoft.com/office/drawing/2014/main" xmlns="" id="{8CB3970B-29F0-4214-A821-D3D8145E5A1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457951" y="6153151"/>
                      <a:ext cx="7938" cy="9525"/>
                    </a:xfrm>
                    <a:custGeom>
                      <a:avLst/>
                      <a:gdLst>
                        <a:gd name="T0" fmla="*/ 2 w 2"/>
                        <a:gd name="T1" fmla="*/ 3 h 3"/>
                        <a:gd name="T2" fmla="*/ 1 w 2"/>
                        <a:gd name="T3" fmla="*/ 0 h 3"/>
                        <a:gd name="T4" fmla="*/ 2 w 2"/>
                        <a:gd name="T5" fmla="*/ 1 h 3"/>
                        <a:gd name="T6" fmla="*/ 2 w 2"/>
                        <a:gd name="T7" fmla="*/ 3 h 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" h="3">
                          <a:moveTo>
                            <a:pt x="2" y="3"/>
                          </a:moveTo>
                          <a:cubicBezTo>
                            <a:pt x="0" y="3"/>
                            <a:pt x="0" y="0"/>
                            <a:pt x="1" y="0"/>
                          </a:cubicBezTo>
                          <a:cubicBezTo>
                            <a:pt x="1" y="1"/>
                            <a:pt x="2" y="1"/>
                            <a:pt x="2" y="1"/>
                          </a:cubicBezTo>
                          <a:lnTo>
                            <a:pt x="2" y="3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84" name="Freeform 390">
                      <a:extLst>
                        <a:ext uri="{FF2B5EF4-FFF2-40B4-BE49-F238E27FC236}">
                          <a16:creationId xmlns:a16="http://schemas.microsoft.com/office/drawing/2014/main" xmlns="" id="{3B8EDAEE-9D8A-49C7-B516-751E241331F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483351" y="6205538"/>
                      <a:ext cx="25400" cy="11113"/>
                    </a:xfrm>
                    <a:custGeom>
                      <a:avLst/>
                      <a:gdLst>
                        <a:gd name="T0" fmla="*/ 0 w 7"/>
                        <a:gd name="T1" fmla="*/ 2 h 3"/>
                        <a:gd name="T2" fmla="*/ 1 w 7"/>
                        <a:gd name="T3" fmla="*/ 0 h 3"/>
                        <a:gd name="T4" fmla="*/ 5 w 7"/>
                        <a:gd name="T5" fmla="*/ 2 h 3"/>
                        <a:gd name="T6" fmla="*/ 7 w 7"/>
                        <a:gd name="T7" fmla="*/ 3 h 3"/>
                        <a:gd name="T8" fmla="*/ 0 w 7"/>
                        <a:gd name="T9" fmla="*/ 2 h 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7" h="3">
                          <a:moveTo>
                            <a:pt x="0" y="2"/>
                          </a:moveTo>
                          <a:cubicBezTo>
                            <a:pt x="0" y="1"/>
                            <a:pt x="0" y="1"/>
                            <a:pt x="1" y="0"/>
                          </a:cubicBezTo>
                          <a:cubicBezTo>
                            <a:pt x="2" y="0"/>
                            <a:pt x="4" y="1"/>
                            <a:pt x="5" y="2"/>
                          </a:cubicBezTo>
                          <a:cubicBezTo>
                            <a:pt x="6" y="2"/>
                            <a:pt x="7" y="2"/>
                            <a:pt x="7" y="3"/>
                          </a:cubicBezTo>
                          <a:cubicBezTo>
                            <a:pt x="7" y="3"/>
                            <a:pt x="0" y="2"/>
                            <a:pt x="0" y="2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85" name="Freeform 391">
                      <a:extLst>
                        <a:ext uri="{FF2B5EF4-FFF2-40B4-BE49-F238E27FC236}">
                          <a16:creationId xmlns:a16="http://schemas.microsoft.com/office/drawing/2014/main" xmlns="" id="{CFDC6EDC-2BEA-498A-BBC3-0DBB157F618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503988" y="6162676"/>
                      <a:ext cx="22225" cy="46038"/>
                    </a:xfrm>
                    <a:custGeom>
                      <a:avLst/>
                      <a:gdLst>
                        <a:gd name="T0" fmla="*/ 5 w 6"/>
                        <a:gd name="T1" fmla="*/ 13 h 13"/>
                        <a:gd name="T2" fmla="*/ 3 w 6"/>
                        <a:gd name="T3" fmla="*/ 11 h 13"/>
                        <a:gd name="T4" fmla="*/ 3 w 6"/>
                        <a:gd name="T5" fmla="*/ 6 h 13"/>
                        <a:gd name="T6" fmla="*/ 3 w 6"/>
                        <a:gd name="T7" fmla="*/ 0 h 13"/>
                        <a:gd name="T8" fmla="*/ 4 w 6"/>
                        <a:gd name="T9" fmla="*/ 4 h 13"/>
                        <a:gd name="T10" fmla="*/ 5 w 6"/>
                        <a:gd name="T11" fmla="*/ 4 h 13"/>
                        <a:gd name="T12" fmla="*/ 6 w 6"/>
                        <a:gd name="T13" fmla="*/ 6 h 13"/>
                        <a:gd name="T14" fmla="*/ 5 w 6"/>
                        <a:gd name="T15" fmla="*/ 13 h 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6" h="13">
                          <a:moveTo>
                            <a:pt x="5" y="13"/>
                          </a:moveTo>
                          <a:cubicBezTo>
                            <a:pt x="5" y="12"/>
                            <a:pt x="4" y="11"/>
                            <a:pt x="3" y="11"/>
                          </a:cubicBezTo>
                          <a:cubicBezTo>
                            <a:pt x="3" y="9"/>
                            <a:pt x="3" y="8"/>
                            <a:pt x="3" y="6"/>
                          </a:cubicBezTo>
                          <a:cubicBezTo>
                            <a:pt x="0" y="5"/>
                            <a:pt x="1" y="1"/>
                            <a:pt x="3" y="0"/>
                          </a:cubicBezTo>
                          <a:cubicBezTo>
                            <a:pt x="4" y="1"/>
                            <a:pt x="4" y="2"/>
                            <a:pt x="4" y="4"/>
                          </a:cubicBezTo>
                          <a:cubicBezTo>
                            <a:pt x="5" y="4"/>
                            <a:pt x="5" y="4"/>
                            <a:pt x="5" y="4"/>
                          </a:cubicBezTo>
                          <a:cubicBezTo>
                            <a:pt x="5" y="5"/>
                            <a:pt x="6" y="5"/>
                            <a:pt x="6" y="6"/>
                          </a:cubicBezTo>
                          <a:cubicBezTo>
                            <a:pt x="6" y="9"/>
                            <a:pt x="5" y="11"/>
                            <a:pt x="5" y="13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86" name="Freeform 392">
                      <a:extLst>
                        <a:ext uri="{FF2B5EF4-FFF2-40B4-BE49-F238E27FC236}">
                          <a16:creationId xmlns:a16="http://schemas.microsoft.com/office/drawing/2014/main" xmlns="" id="{652F8EC4-26BC-446B-8A2B-CA77082C571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529388" y="6103938"/>
                      <a:ext cx="6350" cy="23813"/>
                    </a:xfrm>
                    <a:custGeom>
                      <a:avLst/>
                      <a:gdLst>
                        <a:gd name="T0" fmla="*/ 2 w 2"/>
                        <a:gd name="T1" fmla="*/ 6 h 7"/>
                        <a:gd name="T2" fmla="*/ 0 w 2"/>
                        <a:gd name="T3" fmla="*/ 5 h 7"/>
                        <a:gd name="T4" fmla="*/ 2 w 2"/>
                        <a:gd name="T5" fmla="*/ 2 h 7"/>
                        <a:gd name="T6" fmla="*/ 2 w 2"/>
                        <a:gd name="T7" fmla="*/ 4 h 7"/>
                        <a:gd name="T8" fmla="*/ 2 w 2"/>
                        <a:gd name="T9" fmla="*/ 6 h 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" h="7">
                          <a:moveTo>
                            <a:pt x="2" y="6"/>
                          </a:moveTo>
                          <a:cubicBezTo>
                            <a:pt x="1" y="7"/>
                            <a:pt x="0" y="6"/>
                            <a:pt x="0" y="5"/>
                          </a:cubicBezTo>
                          <a:cubicBezTo>
                            <a:pt x="0" y="4"/>
                            <a:pt x="0" y="0"/>
                            <a:pt x="2" y="2"/>
                          </a:cubicBezTo>
                          <a:cubicBezTo>
                            <a:pt x="2" y="3"/>
                            <a:pt x="2" y="3"/>
                            <a:pt x="2" y="4"/>
                          </a:cubicBezTo>
                          <a:cubicBezTo>
                            <a:pt x="2" y="4"/>
                            <a:pt x="2" y="5"/>
                            <a:pt x="2" y="6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87" name="Freeform 393">
                      <a:extLst>
                        <a:ext uri="{FF2B5EF4-FFF2-40B4-BE49-F238E27FC236}">
                          <a16:creationId xmlns:a16="http://schemas.microsoft.com/office/drawing/2014/main" xmlns="" id="{A9FEB5F3-B610-4C32-BD46-0A2E6185DB8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540501" y="5448301"/>
                      <a:ext cx="9525" cy="7938"/>
                    </a:xfrm>
                    <a:custGeom>
                      <a:avLst/>
                      <a:gdLst>
                        <a:gd name="T0" fmla="*/ 0 w 3"/>
                        <a:gd name="T1" fmla="*/ 2 h 2"/>
                        <a:gd name="T2" fmla="*/ 1 w 3"/>
                        <a:gd name="T3" fmla="*/ 0 h 2"/>
                        <a:gd name="T4" fmla="*/ 0 w 3"/>
                        <a:gd name="T5" fmla="*/ 1 h 2"/>
                        <a:gd name="T6" fmla="*/ 3 w 3"/>
                        <a:gd name="T7" fmla="*/ 2 h 2"/>
                        <a:gd name="T8" fmla="*/ 0 w 3"/>
                        <a:gd name="T9" fmla="*/ 2 h 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" h="2">
                          <a:moveTo>
                            <a:pt x="0" y="2"/>
                          </a:moveTo>
                          <a:cubicBezTo>
                            <a:pt x="0" y="0"/>
                            <a:pt x="0" y="1"/>
                            <a:pt x="1" y="0"/>
                          </a:cubicBezTo>
                          <a:cubicBezTo>
                            <a:pt x="0" y="1"/>
                            <a:pt x="0" y="1"/>
                            <a:pt x="0" y="1"/>
                          </a:cubicBezTo>
                          <a:cubicBezTo>
                            <a:pt x="1" y="1"/>
                            <a:pt x="2" y="1"/>
                            <a:pt x="3" y="2"/>
                          </a:cubicBezTo>
                          <a:cubicBezTo>
                            <a:pt x="2" y="2"/>
                            <a:pt x="1" y="2"/>
                            <a:pt x="0" y="2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88" name="Freeform 394">
                      <a:extLst>
                        <a:ext uri="{FF2B5EF4-FFF2-40B4-BE49-F238E27FC236}">
                          <a16:creationId xmlns:a16="http://schemas.microsoft.com/office/drawing/2014/main" xmlns="" id="{43ADFBF1-60AC-4CF6-872E-78FDE11C57A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572251" y="6276976"/>
                      <a:ext cx="17463" cy="14288"/>
                    </a:xfrm>
                    <a:custGeom>
                      <a:avLst/>
                      <a:gdLst>
                        <a:gd name="T0" fmla="*/ 0 w 5"/>
                        <a:gd name="T1" fmla="*/ 3 h 4"/>
                        <a:gd name="T2" fmla="*/ 3 w 5"/>
                        <a:gd name="T3" fmla="*/ 0 h 4"/>
                        <a:gd name="T4" fmla="*/ 5 w 5"/>
                        <a:gd name="T5" fmla="*/ 0 h 4"/>
                        <a:gd name="T6" fmla="*/ 4 w 5"/>
                        <a:gd name="T7" fmla="*/ 2 h 4"/>
                        <a:gd name="T8" fmla="*/ 5 w 5"/>
                        <a:gd name="T9" fmla="*/ 4 h 4"/>
                        <a:gd name="T10" fmla="*/ 2 w 5"/>
                        <a:gd name="T11" fmla="*/ 4 h 4"/>
                        <a:gd name="T12" fmla="*/ 3 w 5"/>
                        <a:gd name="T13" fmla="*/ 4 h 4"/>
                        <a:gd name="T14" fmla="*/ 0 w 5"/>
                        <a:gd name="T15" fmla="*/ 3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" h="4">
                          <a:moveTo>
                            <a:pt x="0" y="3"/>
                          </a:moveTo>
                          <a:cubicBezTo>
                            <a:pt x="0" y="1"/>
                            <a:pt x="2" y="1"/>
                            <a:pt x="3" y="0"/>
                          </a:cubicBezTo>
                          <a:cubicBezTo>
                            <a:pt x="4" y="0"/>
                            <a:pt x="4" y="0"/>
                            <a:pt x="5" y="0"/>
                          </a:cubicBezTo>
                          <a:cubicBezTo>
                            <a:pt x="4" y="1"/>
                            <a:pt x="5" y="1"/>
                            <a:pt x="4" y="2"/>
                          </a:cubicBezTo>
                          <a:cubicBezTo>
                            <a:pt x="4" y="2"/>
                            <a:pt x="4" y="3"/>
                            <a:pt x="5" y="4"/>
                          </a:cubicBezTo>
                          <a:cubicBezTo>
                            <a:pt x="4" y="4"/>
                            <a:pt x="3" y="4"/>
                            <a:pt x="2" y="4"/>
                          </a:cubicBezTo>
                          <a:cubicBezTo>
                            <a:pt x="3" y="4"/>
                            <a:pt x="3" y="4"/>
                            <a:pt x="3" y="4"/>
                          </a:cubicBezTo>
                          <a:cubicBezTo>
                            <a:pt x="2" y="4"/>
                            <a:pt x="1" y="3"/>
                            <a:pt x="0" y="3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89" name="Freeform 395">
                      <a:extLst>
                        <a:ext uri="{FF2B5EF4-FFF2-40B4-BE49-F238E27FC236}">
                          <a16:creationId xmlns:a16="http://schemas.microsoft.com/office/drawing/2014/main" xmlns="" id="{9E4D40BE-50CF-4A25-8CE1-1CC6EBCA894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581776" y="6305551"/>
                      <a:ext cx="50800" cy="84138"/>
                    </a:xfrm>
                    <a:custGeom>
                      <a:avLst/>
                      <a:gdLst>
                        <a:gd name="T0" fmla="*/ 12 w 14"/>
                        <a:gd name="T1" fmla="*/ 18 h 24"/>
                        <a:gd name="T2" fmla="*/ 12 w 14"/>
                        <a:gd name="T3" fmla="*/ 24 h 24"/>
                        <a:gd name="T4" fmla="*/ 6 w 14"/>
                        <a:gd name="T5" fmla="*/ 24 h 24"/>
                        <a:gd name="T6" fmla="*/ 3 w 14"/>
                        <a:gd name="T7" fmla="*/ 12 h 24"/>
                        <a:gd name="T8" fmla="*/ 0 w 14"/>
                        <a:gd name="T9" fmla="*/ 11 h 24"/>
                        <a:gd name="T10" fmla="*/ 0 w 14"/>
                        <a:gd name="T11" fmla="*/ 3 h 24"/>
                        <a:gd name="T12" fmla="*/ 4 w 14"/>
                        <a:gd name="T13" fmla="*/ 3 h 24"/>
                        <a:gd name="T14" fmla="*/ 10 w 14"/>
                        <a:gd name="T15" fmla="*/ 1 h 24"/>
                        <a:gd name="T16" fmla="*/ 10 w 14"/>
                        <a:gd name="T17" fmla="*/ 8 h 24"/>
                        <a:gd name="T18" fmla="*/ 13 w 14"/>
                        <a:gd name="T19" fmla="*/ 11 h 24"/>
                        <a:gd name="T20" fmla="*/ 12 w 14"/>
                        <a:gd name="T21" fmla="*/ 14 h 24"/>
                        <a:gd name="T22" fmla="*/ 12 w 14"/>
                        <a:gd name="T23" fmla="*/ 18 h 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4" h="24">
                          <a:moveTo>
                            <a:pt x="12" y="18"/>
                          </a:moveTo>
                          <a:cubicBezTo>
                            <a:pt x="13" y="20"/>
                            <a:pt x="12" y="22"/>
                            <a:pt x="12" y="24"/>
                          </a:cubicBezTo>
                          <a:cubicBezTo>
                            <a:pt x="10" y="24"/>
                            <a:pt x="8" y="24"/>
                            <a:pt x="6" y="24"/>
                          </a:cubicBezTo>
                          <a:cubicBezTo>
                            <a:pt x="6" y="20"/>
                            <a:pt x="5" y="16"/>
                            <a:pt x="3" y="12"/>
                          </a:cubicBezTo>
                          <a:cubicBezTo>
                            <a:pt x="2" y="12"/>
                            <a:pt x="1" y="12"/>
                            <a:pt x="0" y="11"/>
                          </a:cubicBezTo>
                          <a:cubicBezTo>
                            <a:pt x="0" y="9"/>
                            <a:pt x="0" y="6"/>
                            <a:pt x="0" y="3"/>
                          </a:cubicBezTo>
                          <a:cubicBezTo>
                            <a:pt x="1" y="3"/>
                            <a:pt x="3" y="3"/>
                            <a:pt x="4" y="3"/>
                          </a:cubicBezTo>
                          <a:cubicBezTo>
                            <a:pt x="5" y="0"/>
                            <a:pt x="8" y="1"/>
                            <a:pt x="10" y="1"/>
                          </a:cubicBezTo>
                          <a:cubicBezTo>
                            <a:pt x="10" y="1"/>
                            <a:pt x="9" y="7"/>
                            <a:pt x="10" y="8"/>
                          </a:cubicBezTo>
                          <a:cubicBezTo>
                            <a:pt x="11" y="9"/>
                            <a:pt x="13" y="9"/>
                            <a:pt x="13" y="11"/>
                          </a:cubicBezTo>
                          <a:cubicBezTo>
                            <a:pt x="14" y="12"/>
                            <a:pt x="12" y="13"/>
                            <a:pt x="12" y="14"/>
                          </a:cubicBezTo>
                          <a:cubicBezTo>
                            <a:pt x="11" y="16"/>
                            <a:pt x="12" y="16"/>
                            <a:pt x="12" y="18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90" name="Freeform 396">
                      <a:extLst>
                        <a:ext uri="{FF2B5EF4-FFF2-40B4-BE49-F238E27FC236}">
                          <a16:creationId xmlns:a16="http://schemas.microsoft.com/office/drawing/2014/main" xmlns="" id="{A56EC129-68F2-4156-98CA-BE18E3E65E5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67463" y="5522913"/>
                      <a:ext cx="0" cy="3175"/>
                    </a:xfrm>
                    <a:custGeom>
                      <a:avLst/>
                      <a:gdLst>
                        <a:gd name="T0" fmla="*/ 0 h 2"/>
                        <a:gd name="T1" fmla="*/ 2 h 2"/>
                        <a:gd name="T2" fmla="*/ 0 h 2"/>
                        <a:gd name="T3" fmla="*/ 0 h 2"/>
                        <a:gd name="T4" fmla="*/ 0 h 2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  <a:cxn ang="0">
                          <a:pos x="0" y="T3"/>
                        </a:cxn>
                        <a:cxn ang="0">
                          <a:pos x="0" y="T4"/>
                        </a:cxn>
                      </a:cxnLst>
                      <a:rect l="0" t="0" r="r" b="b"/>
                      <a:pathLst>
                        <a:path h="2">
                          <a:moveTo>
                            <a:pt x="0" y="0"/>
                          </a:move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91" name="Freeform 397">
                      <a:extLst>
                        <a:ext uri="{FF2B5EF4-FFF2-40B4-BE49-F238E27FC236}">
                          <a16:creationId xmlns:a16="http://schemas.microsoft.com/office/drawing/2014/main" xmlns="" id="{B9F23AAA-BEEB-4C1C-8659-0500F6BF6C8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67463" y="5522913"/>
                      <a:ext cx="0" cy="3175"/>
                    </a:xfrm>
                    <a:custGeom>
                      <a:avLst/>
                      <a:gdLst>
                        <a:gd name="T0" fmla="*/ 0 h 2"/>
                        <a:gd name="T1" fmla="*/ 2 h 2"/>
                        <a:gd name="T2" fmla="*/ 0 h 2"/>
                        <a:gd name="T3" fmla="*/ 0 h 2"/>
                        <a:gd name="T4" fmla="*/ 0 h 2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  <a:cxn ang="0">
                          <a:pos x="0" y="T3"/>
                        </a:cxn>
                        <a:cxn ang="0">
                          <a:pos x="0" y="T4"/>
                        </a:cxn>
                      </a:cxnLst>
                      <a:rect l="0" t="0" r="r" b="b"/>
                      <a:pathLst>
                        <a:path h="2">
                          <a:moveTo>
                            <a:pt x="0" y="0"/>
                          </a:move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92" name="Rectangle 398">
                      <a:extLst>
                        <a:ext uri="{FF2B5EF4-FFF2-40B4-BE49-F238E27FC236}">
                          <a16:creationId xmlns:a16="http://schemas.microsoft.com/office/drawing/2014/main" xmlns="" id="{D15B846A-54A8-4A2C-ABB3-73509016459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67463" y="5522913"/>
                      <a:ext cx="1588" cy="3175"/>
                    </a:xfrm>
                    <a:prstGeom prst="rect">
                      <a:avLst/>
                    </a:pr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93" name="Rectangle 399">
                      <a:extLst>
                        <a:ext uri="{FF2B5EF4-FFF2-40B4-BE49-F238E27FC236}">
                          <a16:creationId xmlns:a16="http://schemas.microsoft.com/office/drawing/2014/main" xmlns="" id="{D77283F2-E60B-4EE1-89D3-A909F3CFE12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67463" y="5522913"/>
                      <a:ext cx="1588" cy="317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pic>
                  <p:nvPicPr>
                    <p:cNvPr id="294" name="Picture 400">
                      <a:extLst>
                        <a:ext uri="{FF2B5EF4-FFF2-40B4-BE49-F238E27FC236}">
                          <a16:creationId xmlns:a16="http://schemas.microsoft.com/office/drawing/2014/main" xmlns="" id="{01F5EC87-5341-4C83-A626-A98975C31100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xmlns="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354763" y="5505451"/>
                      <a:ext cx="28575" cy="2698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295" name="Freeform 401">
                      <a:extLst>
                        <a:ext uri="{FF2B5EF4-FFF2-40B4-BE49-F238E27FC236}">
                          <a16:creationId xmlns:a16="http://schemas.microsoft.com/office/drawing/2014/main" xmlns="" id="{9294E3CA-6A20-4823-A1B3-68CFF747025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6362701" y="5583238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96" name="Rectangle 402">
                      <a:extLst>
                        <a:ext uri="{FF2B5EF4-FFF2-40B4-BE49-F238E27FC236}">
                          <a16:creationId xmlns:a16="http://schemas.microsoft.com/office/drawing/2014/main" xmlns="" id="{E4572D85-49AA-4EA4-A57E-B9547C74FF7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62701" y="5583238"/>
                      <a:ext cx="1588" cy="1588"/>
                    </a:xfrm>
                    <a:prstGeom prst="rect">
                      <a:avLst/>
                    </a:pr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grpSp>
                <p:nvGrpSpPr>
                  <p:cNvPr id="207" name="Group 131">
                    <a:extLst>
                      <a:ext uri="{FF2B5EF4-FFF2-40B4-BE49-F238E27FC236}">
                        <a16:creationId xmlns:a16="http://schemas.microsoft.com/office/drawing/2014/main" xmlns="" id="{423790F2-D91F-4095-AC60-F1731EB7E041}"/>
                      </a:ext>
                    </a:extLst>
                  </p:cNvPr>
                  <p:cNvGrpSpPr/>
                  <p:nvPr/>
                </p:nvGrpSpPr>
                <p:grpSpPr>
                  <a:xfrm>
                    <a:off x="2589213" y="5357813"/>
                    <a:ext cx="347663" cy="731838"/>
                    <a:chOff x="2589213" y="5357813"/>
                    <a:chExt cx="347663" cy="731838"/>
                  </a:xfrm>
                </p:grpSpPr>
                <p:sp>
                  <p:nvSpPr>
                    <p:cNvPr id="228" name="Freeform 403">
                      <a:extLst>
                        <a:ext uri="{FF2B5EF4-FFF2-40B4-BE49-F238E27FC236}">
                          <a16:creationId xmlns:a16="http://schemas.microsoft.com/office/drawing/2014/main" xmlns="" id="{945BC100-CC6B-4469-B5DD-38267CC46408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589213" y="5484813"/>
                      <a:ext cx="7938" cy="9525"/>
                    </a:xfrm>
                    <a:custGeom>
                      <a:avLst/>
                      <a:gdLst>
                        <a:gd name="T0" fmla="*/ 0 w 2"/>
                        <a:gd name="T1" fmla="*/ 1 h 3"/>
                        <a:gd name="T2" fmla="*/ 1 w 2"/>
                        <a:gd name="T3" fmla="*/ 2 h 3"/>
                        <a:gd name="T4" fmla="*/ 1 w 2"/>
                        <a:gd name="T5" fmla="*/ 1 h 3"/>
                        <a:gd name="T6" fmla="*/ 2 w 2"/>
                        <a:gd name="T7" fmla="*/ 3 h 3"/>
                        <a:gd name="T8" fmla="*/ 0 w 2"/>
                        <a:gd name="T9" fmla="*/ 1 h 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" h="3">
                          <a:moveTo>
                            <a:pt x="0" y="1"/>
                          </a:moveTo>
                          <a:cubicBezTo>
                            <a:pt x="0" y="0"/>
                            <a:pt x="1" y="1"/>
                            <a:pt x="1" y="2"/>
                          </a:cubicBezTo>
                          <a:cubicBezTo>
                            <a:pt x="1" y="1"/>
                            <a:pt x="1" y="1"/>
                            <a:pt x="1" y="1"/>
                          </a:cubicBezTo>
                          <a:cubicBezTo>
                            <a:pt x="1" y="2"/>
                            <a:pt x="2" y="2"/>
                            <a:pt x="2" y="3"/>
                          </a:cubicBezTo>
                          <a:cubicBezTo>
                            <a:pt x="1" y="2"/>
                            <a:pt x="0" y="2"/>
                            <a:pt x="0" y="1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29" name="Freeform 404">
                      <a:extLst>
                        <a:ext uri="{FF2B5EF4-FFF2-40B4-BE49-F238E27FC236}">
                          <a16:creationId xmlns:a16="http://schemas.microsoft.com/office/drawing/2014/main" xmlns="" id="{E8F3957B-5B83-4E2B-8FEE-0D7E5DCFEFD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20963" y="5441951"/>
                      <a:ext cx="14288" cy="14288"/>
                    </a:xfrm>
                    <a:custGeom>
                      <a:avLst/>
                      <a:gdLst>
                        <a:gd name="T0" fmla="*/ 3 w 4"/>
                        <a:gd name="T1" fmla="*/ 4 h 4"/>
                        <a:gd name="T2" fmla="*/ 1 w 4"/>
                        <a:gd name="T3" fmla="*/ 1 h 4"/>
                        <a:gd name="T4" fmla="*/ 4 w 4"/>
                        <a:gd name="T5" fmla="*/ 2 h 4"/>
                        <a:gd name="T6" fmla="*/ 3 w 4"/>
                        <a:gd name="T7" fmla="*/ 4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4" h="4">
                          <a:moveTo>
                            <a:pt x="3" y="4"/>
                          </a:moveTo>
                          <a:cubicBezTo>
                            <a:pt x="2" y="4"/>
                            <a:pt x="0" y="2"/>
                            <a:pt x="1" y="1"/>
                          </a:cubicBezTo>
                          <a:cubicBezTo>
                            <a:pt x="1" y="0"/>
                            <a:pt x="3" y="1"/>
                            <a:pt x="4" y="2"/>
                          </a:cubicBezTo>
                          <a:cubicBezTo>
                            <a:pt x="4" y="2"/>
                            <a:pt x="4" y="3"/>
                            <a:pt x="3" y="4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0" name="Freeform 405">
                      <a:extLst>
                        <a:ext uri="{FF2B5EF4-FFF2-40B4-BE49-F238E27FC236}">
                          <a16:creationId xmlns:a16="http://schemas.microsoft.com/office/drawing/2014/main" xmlns="" id="{43745C82-A28C-45F7-9227-6EC8E3655E7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43188" y="5357813"/>
                      <a:ext cx="3175" cy="3175"/>
                    </a:xfrm>
                    <a:custGeom>
                      <a:avLst/>
                      <a:gdLst>
                        <a:gd name="T0" fmla="*/ 0 w 1"/>
                        <a:gd name="T1" fmla="*/ 1 h 1"/>
                        <a:gd name="T2" fmla="*/ 0 w 1"/>
                        <a:gd name="T3" fmla="*/ 0 h 1"/>
                        <a:gd name="T4" fmla="*/ 0 w 1"/>
                        <a:gd name="T5" fmla="*/ 0 h 1"/>
                        <a:gd name="T6" fmla="*/ 1 w 1"/>
                        <a:gd name="T7" fmla="*/ 1 h 1"/>
                        <a:gd name="T8" fmla="*/ 0 w 1"/>
                        <a:gd name="T9" fmla="*/ 1 h 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" h="1">
                          <a:moveTo>
                            <a:pt x="0" y="1"/>
                          </a:moveTo>
                          <a:cubicBezTo>
                            <a:pt x="0" y="1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1"/>
                            <a:pt x="1" y="1"/>
                            <a:pt x="1" y="1"/>
                          </a:cubicBezTo>
                          <a:cubicBezTo>
                            <a:pt x="0" y="1"/>
                            <a:pt x="0" y="1"/>
                            <a:pt x="0" y="1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1" name="Freeform 406">
                      <a:extLst>
                        <a:ext uri="{FF2B5EF4-FFF2-40B4-BE49-F238E27FC236}">
                          <a16:creationId xmlns:a16="http://schemas.microsoft.com/office/drawing/2014/main" xmlns="" id="{36B94192-FAD8-40F7-BE39-BB764E8BA9A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49538" y="5367338"/>
                      <a:ext cx="4763" cy="7938"/>
                    </a:xfrm>
                    <a:custGeom>
                      <a:avLst/>
                      <a:gdLst>
                        <a:gd name="T0" fmla="*/ 0 w 1"/>
                        <a:gd name="T1" fmla="*/ 2 h 2"/>
                        <a:gd name="T2" fmla="*/ 0 w 1"/>
                        <a:gd name="T3" fmla="*/ 0 h 2"/>
                        <a:gd name="T4" fmla="*/ 0 w 1"/>
                        <a:gd name="T5" fmla="*/ 0 h 2"/>
                        <a:gd name="T6" fmla="*/ 0 w 1"/>
                        <a:gd name="T7" fmla="*/ 0 h 2"/>
                        <a:gd name="T8" fmla="*/ 0 w 1"/>
                        <a:gd name="T9" fmla="*/ 0 h 2"/>
                        <a:gd name="T10" fmla="*/ 1 w 1"/>
                        <a:gd name="T11" fmla="*/ 0 h 2"/>
                        <a:gd name="T12" fmla="*/ 0 w 1"/>
                        <a:gd name="T13" fmla="*/ 2 h 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" h="2">
                          <a:moveTo>
                            <a:pt x="0" y="2"/>
                          </a:moveTo>
                          <a:cubicBezTo>
                            <a:pt x="0" y="1"/>
                            <a:pt x="0" y="1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1" y="0"/>
                            <a:pt x="1" y="0"/>
                            <a:pt x="1" y="0"/>
                          </a:cubicBezTo>
                          <a:cubicBezTo>
                            <a:pt x="1" y="1"/>
                            <a:pt x="0" y="1"/>
                            <a:pt x="0" y="2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2" name="Freeform 407">
                      <a:extLst>
                        <a:ext uri="{FF2B5EF4-FFF2-40B4-BE49-F238E27FC236}">
                          <a16:creationId xmlns:a16="http://schemas.microsoft.com/office/drawing/2014/main" xmlns="" id="{F5EF9157-0333-40CD-8F47-0A9D0B8B53F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60651" y="5554663"/>
                      <a:ext cx="14288" cy="14288"/>
                    </a:xfrm>
                    <a:custGeom>
                      <a:avLst/>
                      <a:gdLst>
                        <a:gd name="T0" fmla="*/ 1 w 4"/>
                        <a:gd name="T1" fmla="*/ 1 h 4"/>
                        <a:gd name="T2" fmla="*/ 3 w 4"/>
                        <a:gd name="T3" fmla="*/ 3 h 4"/>
                        <a:gd name="T4" fmla="*/ 3 w 4"/>
                        <a:gd name="T5" fmla="*/ 3 h 4"/>
                        <a:gd name="T6" fmla="*/ 3 w 4"/>
                        <a:gd name="T7" fmla="*/ 4 h 4"/>
                        <a:gd name="T8" fmla="*/ 1 w 4"/>
                        <a:gd name="T9" fmla="*/ 1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" h="4">
                          <a:moveTo>
                            <a:pt x="1" y="1"/>
                          </a:moveTo>
                          <a:cubicBezTo>
                            <a:pt x="2" y="0"/>
                            <a:pt x="4" y="2"/>
                            <a:pt x="3" y="3"/>
                          </a:cubicBezTo>
                          <a:cubicBezTo>
                            <a:pt x="3" y="3"/>
                            <a:pt x="3" y="3"/>
                            <a:pt x="3" y="3"/>
                          </a:cubicBezTo>
                          <a:cubicBezTo>
                            <a:pt x="3" y="3"/>
                            <a:pt x="3" y="3"/>
                            <a:pt x="3" y="4"/>
                          </a:cubicBezTo>
                          <a:cubicBezTo>
                            <a:pt x="2" y="4"/>
                            <a:pt x="0" y="2"/>
                            <a:pt x="1" y="1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3" name="Freeform 408">
                      <a:extLst>
                        <a:ext uri="{FF2B5EF4-FFF2-40B4-BE49-F238E27FC236}">
                          <a16:creationId xmlns:a16="http://schemas.microsoft.com/office/drawing/2014/main" xmlns="" id="{D51E8652-2CEC-4D9F-8D8E-17158DA9C84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63826" y="5761038"/>
                      <a:ext cx="7938" cy="3175"/>
                    </a:xfrm>
                    <a:custGeom>
                      <a:avLst/>
                      <a:gdLst>
                        <a:gd name="T0" fmla="*/ 2 w 2"/>
                        <a:gd name="T1" fmla="*/ 1 h 1"/>
                        <a:gd name="T2" fmla="*/ 1 w 2"/>
                        <a:gd name="T3" fmla="*/ 1 h 1"/>
                        <a:gd name="T4" fmla="*/ 1 w 2"/>
                        <a:gd name="T5" fmla="*/ 0 h 1"/>
                        <a:gd name="T6" fmla="*/ 2 w 2"/>
                        <a:gd name="T7" fmla="*/ 1 h 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" h="1">
                          <a:moveTo>
                            <a:pt x="2" y="1"/>
                          </a:moveTo>
                          <a:cubicBezTo>
                            <a:pt x="1" y="1"/>
                            <a:pt x="1" y="1"/>
                            <a:pt x="1" y="1"/>
                          </a:cubicBezTo>
                          <a:cubicBezTo>
                            <a:pt x="0" y="0"/>
                            <a:pt x="1" y="0"/>
                            <a:pt x="1" y="0"/>
                          </a:cubicBezTo>
                          <a:cubicBezTo>
                            <a:pt x="2" y="0"/>
                            <a:pt x="2" y="0"/>
                            <a:pt x="2" y="1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4" name="Freeform 409">
                      <a:extLst>
                        <a:ext uri="{FF2B5EF4-FFF2-40B4-BE49-F238E27FC236}">
                          <a16:creationId xmlns:a16="http://schemas.microsoft.com/office/drawing/2014/main" xmlns="" id="{3DAEE85B-D79E-4810-97D9-FB39852DA28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74938" y="5618163"/>
                      <a:ext cx="11113" cy="14288"/>
                    </a:xfrm>
                    <a:custGeom>
                      <a:avLst/>
                      <a:gdLst>
                        <a:gd name="T0" fmla="*/ 0 w 3"/>
                        <a:gd name="T1" fmla="*/ 1 h 4"/>
                        <a:gd name="T2" fmla="*/ 2 w 3"/>
                        <a:gd name="T3" fmla="*/ 1 h 4"/>
                        <a:gd name="T4" fmla="*/ 2 w 3"/>
                        <a:gd name="T5" fmla="*/ 2 h 4"/>
                        <a:gd name="T6" fmla="*/ 2 w 3"/>
                        <a:gd name="T7" fmla="*/ 2 h 4"/>
                        <a:gd name="T8" fmla="*/ 2 w 3"/>
                        <a:gd name="T9" fmla="*/ 4 h 4"/>
                        <a:gd name="T10" fmla="*/ 1 w 3"/>
                        <a:gd name="T11" fmla="*/ 3 h 4"/>
                        <a:gd name="T12" fmla="*/ 0 w 3"/>
                        <a:gd name="T13" fmla="*/ 1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" h="4">
                          <a:moveTo>
                            <a:pt x="0" y="1"/>
                          </a:moveTo>
                          <a:cubicBezTo>
                            <a:pt x="1" y="0"/>
                            <a:pt x="2" y="0"/>
                            <a:pt x="2" y="1"/>
                          </a:cubicBezTo>
                          <a:cubicBezTo>
                            <a:pt x="2" y="1"/>
                            <a:pt x="2" y="2"/>
                            <a:pt x="2" y="2"/>
                          </a:cubicBezTo>
                          <a:cubicBezTo>
                            <a:pt x="2" y="2"/>
                            <a:pt x="2" y="2"/>
                            <a:pt x="2" y="2"/>
                          </a:cubicBezTo>
                          <a:cubicBezTo>
                            <a:pt x="2" y="3"/>
                            <a:pt x="3" y="3"/>
                            <a:pt x="2" y="4"/>
                          </a:cubicBezTo>
                          <a:cubicBezTo>
                            <a:pt x="2" y="4"/>
                            <a:pt x="1" y="4"/>
                            <a:pt x="1" y="3"/>
                          </a:cubicBezTo>
                          <a:cubicBezTo>
                            <a:pt x="0" y="3"/>
                            <a:pt x="0" y="1"/>
                            <a:pt x="0" y="1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5" name="Freeform 410">
                      <a:extLst>
                        <a:ext uri="{FF2B5EF4-FFF2-40B4-BE49-F238E27FC236}">
                          <a16:creationId xmlns:a16="http://schemas.microsoft.com/office/drawing/2014/main" xmlns="" id="{30461F44-1D42-4126-970D-5B80F64C684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74938" y="5746751"/>
                      <a:ext cx="6350" cy="3175"/>
                    </a:xfrm>
                    <a:custGeom>
                      <a:avLst/>
                      <a:gdLst>
                        <a:gd name="T0" fmla="*/ 0 w 2"/>
                        <a:gd name="T1" fmla="*/ 1 h 1"/>
                        <a:gd name="T2" fmla="*/ 1 w 2"/>
                        <a:gd name="T3" fmla="*/ 0 h 1"/>
                        <a:gd name="T4" fmla="*/ 2 w 2"/>
                        <a:gd name="T5" fmla="*/ 1 h 1"/>
                        <a:gd name="T6" fmla="*/ 0 w 2"/>
                        <a:gd name="T7" fmla="*/ 1 h 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" h="1">
                          <a:moveTo>
                            <a:pt x="0" y="1"/>
                          </a:moveTo>
                          <a:cubicBezTo>
                            <a:pt x="0" y="1"/>
                            <a:pt x="0" y="0"/>
                            <a:pt x="1" y="0"/>
                          </a:cubicBezTo>
                          <a:cubicBezTo>
                            <a:pt x="1" y="0"/>
                            <a:pt x="2" y="0"/>
                            <a:pt x="2" y="1"/>
                          </a:cubicBezTo>
                          <a:lnTo>
                            <a:pt x="0" y="1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6" name="Freeform 411">
                      <a:extLst>
                        <a:ext uri="{FF2B5EF4-FFF2-40B4-BE49-F238E27FC236}">
                          <a16:creationId xmlns:a16="http://schemas.microsoft.com/office/drawing/2014/main" xmlns="" id="{C4BFAF72-0A09-4C75-BB96-115C8A112F9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78113" y="5484813"/>
                      <a:ext cx="14288" cy="17463"/>
                    </a:xfrm>
                    <a:custGeom>
                      <a:avLst/>
                      <a:gdLst>
                        <a:gd name="T0" fmla="*/ 3 w 4"/>
                        <a:gd name="T1" fmla="*/ 4 h 5"/>
                        <a:gd name="T2" fmla="*/ 3 w 4"/>
                        <a:gd name="T3" fmla="*/ 4 h 5"/>
                        <a:gd name="T4" fmla="*/ 3 w 4"/>
                        <a:gd name="T5" fmla="*/ 4 h 5"/>
                        <a:gd name="T6" fmla="*/ 2 w 4"/>
                        <a:gd name="T7" fmla="*/ 0 h 5"/>
                        <a:gd name="T8" fmla="*/ 3 w 4"/>
                        <a:gd name="T9" fmla="*/ 4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" h="5">
                          <a:moveTo>
                            <a:pt x="3" y="4"/>
                          </a:moveTo>
                          <a:cubicBezTo>
                            <a:pt x="3" y="4"/>
                            <a:pt x="3" y="4"/>
                            <a:pt x="3" y="4"/>
                          </a:cubicBezTo>
                          <a:cubicBezTo>
                            <a:pt x="3" y="4"/>
                            <a:pt x="3" y="4"/>
                            <a:pt x="3" y="4"/>
                          </a:cubicBezTo>
                          <a:cubicBezTo>
                            <a:pt x="0" y="5"/>
                            <a:pt x="2" y="1"/>
                            <a:pt x="2" y="0"/>
                          </a:cubicBezTo>
                          <a:cubicBezTo>
                            <a:pt x="3" y="1"/>
                            <a:pt x="4" y="3"/>
                            <a:pt x="3" y="4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7" name="Freeform 412">
                      <a:extLst>
                        <a:ext uri="{FF2B5EF4-FFF2-40B4-BE49-F238E27FC236}">
                          <a16:creationId xmlns:a16="http://schemas.microsoft.com/office/drawing/2014/main" xmlns="" id="{E1E8F9CE-67A1-4C00-A6B0-7853CF0EF91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698751" y="5600701"/>
                      <a:ext cx="11113" cy="7938"/>
                    </a:xfrm>
                    <a:custGeom>
                      <a:avLst/>
                      <a:gdLst>
                        <a:gd name="T0" fmla="*/ 2 w 3"/>
                        <a:gd name="T1" fmla="*/ 2 h 2"/>
                        <a:gd name="T2" fmla="*/ 1 w 3"/>
                        <a:gd name="T3" fmla="*/ 0 h 2"/>
                        <a:gd name="T4" fmla="*/ 2 w 3"/>
                        <a:gd name="T5" fmla="*/ 2 h 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3" h="2">
                          <a:moveTo>
                            <a:pt x="2" y="2"/>
                          </a:moveTo>
                          <a:cubicBezTo>
                            <a:pt x="1" y="2"/>
                            <a:pt x="0" y="1"/>
                            <a:pt x="1" y="0"/>
                          </a:cubicBezTo>
                          <a:cubicBezTo>
                            <a:pt x="2" y="0"/>
                            <a:pt x="3" y="2"/>
                            <a:pt x="2" y="2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8" name="Freeform 413">
                      <a:extLst>
                        <a:ext uri="{FF2B5EF4-FFF2-40B4-BE49-F238E27FC236}">
                          <a16:creationId xmlns:a16="http://schemas.microsoft.com/office/drawing/2014/main" xmlns="" id="{03C117DB-5EAD-44D2-9134-D4B1B9DC567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744788" y="5626101"/>
                      <a:ext cx="7938" cy="6350"/>
                    </a:xfrm>
                    <a:custGeom>
                      <a:avLst/>
                      <a:gdLst>
                        <a:gd name="T0" fmla="*/ 0 w 2"/>
                        <a:gd name="T1" fmla="*/ 0 h 2"/>
                        <a:gd name="T2" fmla="*/ 2 w 2"/>
                        <a:gd name="T3" fmla="*/ 2 h 2"/>
                        <a:gd name="T4" fmla="*/ 0 w 2"/>
                        <a:gd name="T5" fmla="*/ 0 h 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" h="2">
                          <a:moveTo>
                            <a:pt x="0" y="0"/>
                          </a:moveTo>
                          <a:cubicBezTo>
                            <a:pt x="1" y="0"/>
                            <a:pt x="2" y="2"/>
                            <a:pt x="2" y="2"/>
                          </a:cubicBezTo>
                          <a:cubicBezTo>
                            <a:pt x="0" y="2"/>
                            <a:pt x="0" y="2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39" name="Freeform 414">
                      <a:extLst>
                        <a:ext uri="{FF2B5EF4-FFF2-40B4-BE49-F238E27FC236}">
                          <a16:creationId xmlns:a16="http://schemas.microsoft.com/office/drawing/2014/main" xmlns="" id="{F4B698FE-E07E-4C03-8E29-1534910294D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744788" y="5686426"/>
                      <a:ext cx="25400" cy="17463"/>
                    </a:xfrm>
                    <a:custGeom>
                      <a:avLst/>
                      <a:gdLst>
                        <a:gd name="T0" fmla="*/ 0 w 7"/>
                        <a:gd name="T1" fmla="*/ 4 h 5"/>
                        <a:gd name="T2" fmla="*/ 0 w 7"/>
                        <a:gd name="T3" fmla="*/ 0 h 5"/>
                        <a:gd name="T4" fmla="*/ 0 w 7"/>
                        <a:gd name="T5" fmla="*/ 4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7" h="5">
                          <a:moveTo>
                            <a:pt x="0" y="4"/>
                          </a:moveTo>
                          <a:cubicBezTo>
                            <a:pt x="0" y="2"/>
                            <a:pt x="0" y="1"/>
                            <a:pt x="0" y="0"/>
                          </a:cubicBezTo>
                          <a:cubicBezTo>
                            <a:pt x="7" y="0"/>
                            <a:pt x="0" y="5"/>
                            <a:pt x="0" y="4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40" name="Freeform 415">
                      <a:extLst>
                        <a:ext uri="{FF2B5EF4-FFF2-40B4-BE49-F238E27FC236}">
                          <a16:creationId xmlns:a16="http://schemas.microsoft.com/office/drawing/2014/main" xmlns="" id="{F4227850-0923-4352-8F34-6604AB63F9F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790826" y="5476876"/>
                      <a:ext cx="4763" cy="7938"/>
                    </a:xfrm>
                    <a:custGeom>
                      <a:avLst/>
                      <a:gdLst>
                        <a:gd name="T0" fmla="*/ 0 w 1"/>
                        <a:gd name="T1" fmla="*/ 0 h 2"/>
                        <a:gd name="T2" fmla="*/ 1 w 1"/>
                        <a:gd name="T3" fmla="*/ 0 h 2"/>
                        <a:gd name="T4" fmla="*/ 0 w 1"/>
                        <a:gd name="T5" fmla="*/ 0 h 2"/>
                        <a:gd name="T6" fmla="*/ 1 w 1"/>
                        <a:gd name="T7" fmla="*/ 2 h 2"/>
                        <a:gd name="T8" fmla="*/ 0 w 1"/>
                        <a:gd name="T9" fmla="*/ 0 h 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" h="2">
                          <a:moveTo>
                            <a:pt x="0" y="0"/>
                          </a:moveTo>
                          <a:cubicBezTo>
                            <a:pt x="0" y="0"/>
                            <a:pt x="1" y="0"/>
                            <a:pt x="1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1" y="1"/>
                            <a:pt x="1" y="1"/>
                            <a:pt x="1" y="2"/>
                          </a:cubicBezTo>
                          <a:cubicBezTo>
                            <a:pt x="0" y="1"/>
                            <a:pt x="0" y="1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41" name="Freeform 416">
                      <a:extLst>
                        <a:ext uri="{FF2B5EF4-FFF2-40B4-BE49-F238E27FC236}">
                          <a16:creationId xmlns:a16="http://schemas.microsoft.com/office/drawing/2014/main" xmlns="" id="{7C1C7FEC-879D-45DA-8919-7787267A95E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784476" y="5554663"/>
                      <a:ext cx="6350" cy="14288"/>
                    </a:xfrm>
                    <a:custGeom>
                      <a:avLst/>
                      <a:gdLst>
                        <a:gd name="T0" fmla="*/ 2 w 2"/>
                        <a:gd name="T1" fmla="*/ 3 h 4"/>
                        <a:gd name="T2" fmla="*/ 2 w 2"/>
                        <a:gd name="T3" fmla="*/ 2 h 4"/>
                        <a:gd name="T4" fmla="*/ 2 w 2"/>
                        <a:gd name="T5" fmla="*/ 2 h 4"/>
                        <a:gd name="T6" fmla="*/ 0 w 2"/>
                        <a:gd name="T7" fmla="*/ 4 h 4"/>
                        <a:gd name="T8" fmla="*/ 0 w 2"/>
                        <a:gd name="T9" fmla="*/ 0 h 4"/>
                        <a:gd name="T10" fmla="*/ 2 w 2"/>
                        <a:gd name="T11" fmla="*/ 2 h 4"/>
                        <a:gd name="T12" fmla="*/ 2 w 2"/>
                        <a:gd name="T13" fmla="*/ 2 h 4"/>
                        <a:gd name="T14" fmla="*/ 2 w 2"/>
                        <a:gd name="T15" fmla="*/ 2 h 4"/>
                        <a:gd name="T16" fmla="*/ 2 w 2"/>
                        <a:gd name="T17" fmla="*/ 3 h 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" h="4">
                          <a:moveTo>
                            <a:pt x="2" y="3"/>
                          </a:moveTo>
                          <a:cubicBezTo>
                            <a:pt x="2" y="2"/>
                            <a:pt x="2" y="2"/>
                            <a:pt x="2" y="2"/>
                          </a:cubicBezTo>
                          <a:cubicBezTo>
                            <a:pt x="2" y="2"/>
                            <a:pt x="2" y="2"/>
                            <a:pt x="2" y="2"/>
                          </a:cubicBezTo>
                          <a:cubicBezTo>
                            <a:pt x="2" y="3"/>
                            <a:pt x="2" y="4"/>
                            <a:pt x="0" y="4"/>
                          </a:cubicBezTo>
                          <a:cubicBezTo>
                            <a:pt x="0" y="3"/>
                            <a:pt x="0" y="2"/>
                            <a:pt x="0" y="0"/>
                          </a:cubicBezTo>
                          <a:cubicBezTo>
                            <a:pt x="1" y="0"/>
                            <a:pt x="2" y="1"/>
                            <a:pt x="2" y="2"/>
                          </a:cubicBezTo>
                          <a:cubicBezTo>
                            <a:pt x="2" y="2"/>
                            <a:pt x="2" y="2"/>
                            <a:pt x="2" y="2"/>
                          </a:cubicBezTo>
                          <a:cubicBezTo>
                            <a:pt x="2" y="2"/>
                            <a:pt x="2" y="2"/>
                            <a:pt x="2" y="2"/>
                          </a:cubicBezTo>
                          <a:cubicBezTo>
                            <a:pt x="2" y="2"/>
                            <a:pt x="2" y="3"/>
                            <a:pt x="2" y="3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42" name="Freeform 417">
                      <a:extLst>
                        <a:ext uri="{FF2B5EF4-FFF2-40B4-BE49-F238E27FC236}">
                          <a16:creationId xmlns:a16="http://schemas.microsoft.com/office/drawing/2014/main" xmlns="" id="{DEE83CF8-CDF0-4512-8F4F-BBCEB21230F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790826" y="6067426"/>
                      <a:ext cx="11113" cy="22225"/>
                    </a:xfrm>
                    <a:custGeom>
                      <a:avLst/>
                      <a:gdLst>
                        <a:gd name="T0" fmla="*/ 0 w 3"/>
                        <a:gd name="T1" fmla="*/ 6 h 6"/>
                        <a:gd name="T2" fmla="*/ 0 w 3"/>
                        <a:gd name="T3" fmla="*/ 6 h 6"/>
                        <a:gd name="T4" fmla="*/ 2 w 3"/>
                        <a:gd name="T5" fmla="*/ 1 h 6"/>
                        <a:gd name="T6" fmla="*/ 2 w 3"/>
                        <a:gd name="T7" fmla="*/ 3 h 6"/>
                        <a:gd name="T8" fmla="*/ 3 w 3"/>
                        <a:gd name="T9" fmla="*/ 3 h 6"/>
                        <a:gd name="T10" fmla="*/ 0 w 3"/>
                        <a:gd name="T11" fmla="*/ 6 h 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3" h="6">
                          <a:moveTo>
                            <a:pt x="0" y="6"/>
                          </a:moveTo>
                          <a:cubicBezTo>
                            <a:pt x="0" y="6"/>
                            <a:pt x="0" y="6"/>
                            <a:pt x="0" y="6"/>
                          </a:cubicBezTo>
                          <a:cubicBezTo>
                            <a:pt x="1" y="6"/>
                            <a:pt x="0" y="0"/>
                            <a:pt x="2" y="1"/>
                          </a:cubicBezTo>
                          <a:cubicBezTo>
                            <a:pt x="2" y="2"/>
                            <a:pt x="2" y="2"/>
                            <a:pt x="2" y="3"/>
                          </a:cubicBezTo>
                          <a:cubicBezTo>
                            <a:pt x="3" y="3"/>
                            <a:pt x="3" y="3"/>
                            <a:pt x="3" y="3"/>
                          </a:cubicBezTo>
                          <a:cubicBezTo>
                            <a:pt x="3" y="5"/>
                            <a:pt x="2" y="6"/>
                            <a:pt x="0" y="6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43" name="Freeform 418">
                      <a:extLst>
                        <a:ext uri="{FF2B5EF4-FFF2-40B4-BE49-F238E27FC236}">
                          <a16:creationId xmlns:a16="http://schemas.microsoft.com/office/drawing/2014/main" xmlns="" id="{41819DF5-0821-4CF7-9111-F9D806E8BB9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841626" y="5519738"/>
                      <a:ext cx="6350" cy="6350"/>
                    </a:xfrm>
                    <a:custGeom>
                      <a:avLst/>
                      <a:gdLst>
                        <a:gd name="T0" fmla="*/ 2 w 2"/>
                        <a:gd name="T1" fmla="*/ 1 h 2"/>
                        <a:gd name="T2" fmla="*/ 0 w 2"/>
                        <a:gd name="T3" fmla="*/ 2 h 2"/>
                        <a:gd name="T4" fmla="*/ 1 w 2"/>
                        <a:gd name="T5" fmla="*/ 0 h 2"/>
                        <a:gd name="T6" fmla="*/ 2 w 2"/>
                        <a:gd name="T7" fmla="*/ 1 h 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" h="2">
                          <a:moveTo>
                            <a:pt x="2" y="1"/>
                          </a:moveTo>
                          <a:cubicBezTo>
                            <a:pt x="2" y="2"/>
                            <a:pt x="0" y="1"/>
                            <a:pt x="0" y="2"/>
                          </a:cubicBezTo>
                          <a:cubicBezTo>
                            <a:pt x="1" y="1"/>
                            <a:pt x="0" y="0"/>
                            <a:pt x="1" y="0"/>
                          </a:cubicBezTo>
                          <a:cubicBezTo>
                            <a:pt x="2" y="0"/>
                            <a:pt x="2" y="1"/>
                            <a:pt x="2" y="1"/>
                          </a:cubicBez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44" name="Freeform 419">
                      <a:extLst>
                        <a:ext uri="{FF2B5EF4-FFF2-40B4-BE49-F238E27FC236}">
                          <a16:creationId xmlns:a16="http://schemas.microsoft.com/office/drawing/2014/main" xmlns="" id="{F25614F4-D757-4F54-991E-2D005E831A3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928938" y="5764213"/>
                      <a:ext cx="7938" cy="17463"/>
                    </a:xfrm>
                    <a:custGeom>
                      <a:avLst/>
                      <a:gdLst>
                        <a:gd name="T0" fmla="*/ 1 w 2"/>
                        <a:gd name="T1" fmla="*/ 5 h 5"/>
                        <a:gd name="T2" fmla="*/ 2 w 2"/>
                        <a:gd name="T3" fmla="*/ 0 h 5"/>
                        <a:gd name="T4" fmla="*/ 2 w 2"/>
                        <a:gd name="T5" fmla="*/ 3 h 5"/>
                        <a:gd name="T6" fmla="*/ 1 w 2"/>
                        <a:gd name="T7" fmla="*/ 5 h 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" h="5">
                          <a:moveTo>
                            <a:pt x="1" y="5"/>
                          </a:moveTo>
                          <a:cubicBezTo>
                            <a:pt x="0" y="4"/>
                            <a:pt x="1" y="2"/>
                            <a:pt x="2" y="0"/>
                          </a:cubicBezTo>
                          <a:cubicBezTo>
                            <a:pt x="2" y="1"/>
                            <a:pt x="2" y="2"/>
                            <a:pt x="2" y="3"/>
                          </a:cubicBezTo>
                          <a:lnTo>
                            <a:pt x="1" y="5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45" name="Freeform 420">
                      <a:extLst>
                        <a:ext uri="{FF2B5EF4-FFF2-40B4-BE49-F238E27FC236}">
                          <a16:creationId xmlns:a16="http://schemas.microsoft.com/office/drawing/2014/main" xmlns="" id="{0F3B7287-DAB0-4539-A20F-69329CC70D2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749551" y="5657851"/>
                      <a:ext cx="0" cy="3175"/>
                    </a:xfrm>
                    <a:custGeom>
                      <a:avLst/>
                      <a:gdLst>
                        <a:gd name="T0" fmla="*/ 0 h 2"/>
                        <a:gd name="T1" fmla="*/ 2 h 2"/>
                        <a:gd name="T2" fmla="*/ 0 h 2"/>
                        <a:gd name="T3" fmla="*/ 0 h 2"/>
                        <a:gd name="T4" fmla="*/ 0 h 2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  <a:cxn ang="0">
                          <a:pos x="0" y="T3"/>
                        </a:cxn>
                        <a:cxn ang="0">
                          <a:pos x="0" y="T4"/>
                        </a:cxn>
                      </a:cxnLst>
                      <a:rect l="0" t="0" r="r" b="b"/>
                      <a:pathLst>
                        <a:path h="2">
                          <a:moveTo>
                            <a:pt x="0" y="0"/>
                          </a:move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46" name="Freeform 421">
                      <a:extLst>
                        <a:ext uri="{FF2B5EF4-FFF2-40B4-BE49-F238E27FC236}">
                          <a16:creationId xmlns:a16="http://schemas.microsoft.com/office/drawing/2014/main" xmlns="" id="{8F78E29B-620B-4FB5-ABD0-BD83662024E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749551" y="5657851"/>
                      <a:ext cx="0" cy="3175"/>
                    </a:xfrm>
                    <a:custGeom>
                      <a:avLst/>
                      <a:gdLst>
                        <a:gd name="T0" fmla="*/ 0 h 2"/>
                        <a:gd name="T1" fmla="*/ 2 h 2"/>
                        <a:gd name="T2" fmla="*/ 0 h 2"/>
                        <a:gd name="T3" fmla="*/ 0 h 2"/>
                        <a:gd name="T4" fmla="*/ 0 h 2"/>
                      </a:gdLst>
                      <a:ahLst/>
                      <a:cxnLst>
                        <a:cxn ang="0">
                          <a:pos x="0" y="T0"/>
                        </a:cxn>
                        <a:cxn ang="0">
                          <a:pos x="0" y="T1"/>
                        </a:cxn>
                        <a:cxn ang="0">
                          <a:pos x="0" y="T2"/>
                        </a:cxn>
                        <a:cxn ang="0">
                          <a:pos x="0" y="T3"/>
                        </a:cxn>
                        <a:cxn ang="0">
                          <a:pos x="0" y="T4"/>
                        </a:cxn>
                      </a:cxnLst>
                      <a:rect l="0" t="0" r="r" b="b"/>
                      <a:pathLst>
                        <a:path h="2">
                          <a:moveTo>
                            <a:pt x="0" y="0"/>
                          </a:move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47" name="Rectangle 422">
                      <a:extLst>
                        <a:ext uri="{FF2B5EF4-FFF2-40B4-BE49-F238E27FC236}">
                          <a16:creationId xmlns:a16="http://schemas.microsoft.com/office/drawing/2014/main" xmlns="" id="{69027C5F-8A74-4A9F-9893-CEFD8BA4E9DC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749551" y="5657851"/>
                      <a:ext cx="1588" cy="3175"/>
                    </a:xfrm>
                    <a:prstGeom prst="rect">
                      <a:avLst/>
                    </a:pr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48" name="Rectangle 423">
                      <a:extLst>
                        <a:ext uri="{FF2B5EF4-FFF2-40B4-BE49-F238E27FC236}">
                          <a16:creationId xmlns:a16="http://schemas.microsoft.com/office/drawing/2014/main" xmlns="" id="{424D35F3-6ABB-4DD7-84C3-5876F9D2EC86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749551" y="5657851"/>
                      <a:ext cx="1588" cy="317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pic>
                  <p:nvPicPr>
                    <p:cNvPr id="249" name="Picture 424">
                      <a:extLst>
                        <a:ext uri="{FF2B5EF4-FFF2-40B4-BE49-F238E27FC236}">
                          <a16:creationId xmlns:a16="http://schemas.microsoft.com/office/drawing/2014/main" xmlns="" id="{9ED396CD-C901-48B5-A277-755CE149102A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3" cstate="print">
                      <a:extLst>
                        <a:ext uri="{28A0092B-C50C-407E-A947-70E740481C1C}">
                          <a14:useLocalDpi xmlns:a14="http://schemas.microsoft.com/office/drawing/2010/main" xmlns="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2743201" y="5646738"/>
                      <a:ext cx="28575" cy="2698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250" name="Freeform 425">
                      <a:extLst>
                        <a:ext uri="{FF2B5EF4-FFF2-40B4-BE49-F238E27FC236}">
                          <a16:creationId xmlns:a16="http://schemas.microsoft.com/office/drawing/2014/main" xmlns="" id="{319DD021-6284-4443-BFC6-68A2F931C06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744788" y="5718176"/>
                      <a:ext cx="0" cy="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</a:cxnLst>
                      <a:rect l="0" t="0" r="r" b="b"/>
                      <a:pathLst>
                        <a:path>
                          <a:moveTo>
                            <a:pt x="0" y="0"/>
                          </a:move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1" name="Rectangle 426">
                      <a:extLst>
                        <a:ext uri="{FF2B5EF4-FFF2-40B4-BE49-F238E27FC236}">
                          <a16:creationId xmlns:a16="http://schemas.microsoft.com/office/drawing/2014/main" xmlns="" id="{1C5BC7AD-692D-483A-BC18-75652FB5EEC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744788" y="5718176"/>
                      <a:ext cx="1588" cy="1588"/>
                    </a:xfrm>
                    <a:prstGeom prst="rect">
                      <a:avLst/>
                    </a:prstGeom>
                    <a:solidFill>
                      <a:srgbClr val="68CEF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sp>
                <p:nvSpPr>
                  <p:cNvPr id="208" name="Freeform 427">
                    <a:extLst>
                      <a:ext uri="{FF2B5EF4-FFF2-40B4-BE49-F238E27FC236}">
                        <a16:creationId xmlns:a16="http://schemas.microsoft.com/office/drawing/2014/main" xmlns="" id="{B18A8F79-B1EB-4FD3-B492-71B2BEE18CD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36951" y="2422526"/>
                    <a:ext cx="4763" cy="0"/>
                  </a:xfrm>
                  <a:custGeom>
                    <a:avLst/>
                    <a:gdLst>
                      <a:gd name="T0" fmla="*/ 0 w 1"/>
                      <a:gd name="T1" fmla="*/ 1 w 1"/>
                      <a:gd name="T2" fmla="*/ 0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1">
                        <a:moveTo>
                          <a:pt x="0" y="0"/>
                        </a:moveTo>
                        <a:cubicBezTo>
                          <a:pt x="1" y="0"/>
                          <a:pt x="1" y="0"/>
                          <a:pt x="1" y="0"/>
                        </a:cubicBezTo>
                        <a:cubicBezTo>
                          <a:pt x="1" y="0"/>
                          <a:pt x="1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9" name="Freeform 428">
                    <a:extLst>
                      <a:ext uri="{FF2B5EF4-FFF2-40B4-BE49-F238E27FC236}">
                        <a16:creationId xmlns:a16="http://schemas.microsoft.com/office/drawing/2014/main" xmlns="" id="{37175F3A-9DD7-4F0E-8555-9AA24157154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30601" y="2425701"/>
                    <a:ext cx="0" cy="3175"/>
                  </a:xfrm>
                  <a:custGeom>
                    <a:avLst/>
                    <a:gdLst>
                      <a:gd name="T0" fmla="*/ 1 h 1"/>
                      <a:gd name="T1" fmla="*/ 0 h 1"/>
                      <a:gd name="T2" fmla="*/ 1 h 1"/>
                    </a:gdLst>
                    <a:ahLst/>
                    <a:cxnLst>
                      <a:cxn ang="0">
                        <a:pos x="0" y="T0"/>
                      </a:cxn>
                      <a:cxn ang="0">
                        <a:pos x="0" y="T1"/>
                      </a:cxn>
                      <a:cxn ang="0">
                        <a:pos x="0" y="T2"/>
                      </a:cxn>
                    </a:cxnLst>
                    <a:rect l="0" t="0" r="r" b="b"/>
                    <a:pathLst>
                      <a:path h="1">
                        <a:moveTo>
                          <a:pt x="0" y="1"/>
                        </a:moveTo>
                        <a:cubicBezTo>
                          <a:pt x="0" y="1"/>
                          <a:pt x="0" y="1"/>
                          <a:pt x="0" y="0"/>
                        </a:cubicBezTo>
                        <a:cubicBezTo>
                          <a:pt x="0" y="1"/>
                          <a:pt x="0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0" name="Freeform 429">
                    <a:extLst>
                      <a:ext uri="{FF2B5EF4-FFF2-40B4-BE49-F238E27FC236}">
                        <a16:creationId xmlns:a16="http://schemas.microsoft.com/office/drawing/2014/main" xmlns="" id="{0BB879EE-D54E-4E55-851A-18F2E80938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30601" y="2422526"/>
                    <a:ext cx="3175" cy="3175"/>
                  </a:xfrm>
                  <a:custGeom>
                    <a:avLst/>
                    <a:gdLst>
                      <a:gd name="T0" fmla="*/ 0 w 2"/>
                      <a:gd name="T1" fmla="*/ 2 h 2"/>
                      <a:gd name="T2" fmla="*/ 2 w 2"/>
                      <a:gd name="T3" fmla="*/ 0 h 2"/>
                      <a:gd name="T4" fmla="*/ 0 w 2"/>
                      <a:gd name="T5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" h="2">
                        <a:moveTo>
                          <a:pt x="0" y="2"/>
                        </a:moveTo>
                        <a:lnTo>
                          <a:pt x="2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1" name="Freeform 430">
                    <a:extLst>
                      <a:ext uri="{FF2B5EF4-FFF2-40B4-BE49-F238E27FC236}">
                        <a16:creationId xmlns:a16="http://schemas.microsoft.com/office/drawing/2014/main" xmlns="" id="{AB5371DC-0270-43A4-B9B1-7B8460DBDE7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86126" y="2273301"/>
                    <a:ext cx="0" cy="0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2" name="Freeform 431">
                    <a:extLst>
                      <a:ext uri="{FF2B5EF4-FFF2-40B4-BE49-F238E27FC236}">
                        <a16:creationId xmlns:a16="http://schemas.microsoft.com/office/drawing/2014/main" xmlns="" id="{A5255B44-65DB-4C9E-B2B3-71A8630D9BF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93963" y="2347913"/>
                    <a:ext cx="1411288" cy="1216025"/>
                  </a:xfrm>
                  <a:custGeom>
                    <a:avLst/>
                    <a:gdLst>
                      <a:gd name="T0" fmla="*/ 392 w 399"/>
                      <a:gd name="T1" fmla="*/ 167 h 344"/>
                      <a:gd name="T2" fmla="*/ 375 w 399"/>
                      <a:gd name="T3" fmla="*/ 167 h 344"/>
                      <a:gd name="T4" fmla="*/ 366 w 399"/>
                      <a:gd name="T5" fmla="*/ 166 h 344"/>
                      <a:gd name="T6" fmla="*/ 372 w 399"/>
                      <a:gd name="T7" fmla="*/ 156 h 344"/>
                      <a:gd name="T8" fmla="*/ 369 w 399"/>
                      <a:gd name="T9" fmla="*/ 146 h 344"/>
                      <a:gd name="T10" fmla="*/ 357 w 399"/>
                      <a:gd name="T11" fmla="*/ 124 h 344"/>
                      <a:gd name="T12" fmla="*/ 341 w 399"/>
                      <a:gd name="T13" fmla="*/ 122 h 344"/>
                      <a:gd name="T14" fmla="*/ 336 w 399"/>
                      <a:gd name="T15" fmla="*/ 109 h 344"/>
                      <a:gd name="T16" fmla="*/ 316 w 399"/>
                      <a:gd name="T17" fmla="*/ 107 h 344"/>
                      <a:gd name="T18" fmla="*/ 309 w 399"/>
                      <a:gd name="T19" fmla="*/ 121 h 344"/>
                      <a:gd name="T20" fmla="*/ 295 w 399"/>
                      <a:gd name="T21" fmla="*/ 94 h 344"/>
                      <a:gd name="T22" fmla="*/ 281 w 399"/>
                      <a:gd name="T23" fmla="*/ 61 h 344"/>
                      <a:gd name="T24" fmla="*/ 274 w 399"/>
                      <a:gd name="T25" fmla="*/ 48 h 344"/>
                      <a:gd name="T26" fmla="*/ 250 w 399"/>
                      <a:gd name="T27" fmla="*/ 44 h 344"/>
                      <a:gd name="T28" fmla="*/ 242 w 399"/>
                      <a:gd name="T29" fmla="*/ 38 h 344"/>
                      <a:gd name="T30" fmla="*/ 242 w 399"/>
                      <a:gd name="T31" fmla="*/ 18 h 344"/>
                      <a:gd name="T32" fmla="*/ 237 w 399"/>
                      <a:gd name="T33" fmla="*/ 10 h 344"/>
                      <a:gd name="T34" fmla="*/ 213 w 399"/>
                      <a:gd name="T35" fmla="*/ 0 h 344"/>
                      <a:gd name="T36" fmla="*/ 190 w 399"/>
                      <a:gd name="T37" fmla="*/ 8 h 344"/>
                      <a:gd name="T38" fmla="*/ 166 w 399"/>
                      <a:gd name="T39" fmla="*/ 52 h 344"/>
                      <a:gd name="T40" fmla="*/ 132 w 399"/>
                      <a:gd name="T41" fmla="*/ 80 h 344"/>
                      <a:gd name="T42" fmla="*/ 94 w 399"/>
                      <a:gd name="T43" fmla="*/ 101 h 344"/>
                      <a:gd name="T44" fmla="*/ 58 w 399"/>
                      <a:gd name="T45" fmla="*/ 92 h 344"/>
                      <a:gd name="T46" fmla="*/ 22 w 399"/>
                      <a:gd name="T47" fmla="*/ 116 h 344"/>
                      <a:gd name="T48" fmla="*/ 12 w 399"/>
                      <a:gd name="T49" fmla="*/ 152 h 344"/>
                      <a:gd name="T50" fmla="*/ 29 w 399"/>
                      <a:gd name="T51" fmla="*/ 158 h 344"/>
                      <a:gd name="T52" fmla="*/ 25 w 399"/>
                      <a:gd name="T53" fmla="*/ 187 h 344"/>
                      <a:gd name="T54" fmla="*/ 35 w 399"/>
                      <a:gd name="T55" fmla="*/ 200 h 344"/>
                      <a:gd name="T56" fmla="*/ 55 w 399"/>
                      <a:gd name="T57" fmla="*/ 226 h 344"/>
                      <a:gd name="T58" fmla="*/ 78 w 399"/>
                      <a:gd name="T59" fmla="*/ 252 h 344"/>
                      <a:gd name="T60" fmla="*/ 92 w 399"/>
                      <a:gd name="T61" fmla="*/ 255 h 344"/>
                      <a:gd name="T62" fmla="*/ 109 w 399"/>
                      <a:gd name="T63" fmla="*/ 258 h 344"/>
                      <a:gd name="T64" fmla="*/ 127 w 399"/>
                      <a:gd name="T65" fmla="*/ 262 h 344"/>
                      <a:gd name="T66" fmla="*/ 143 w 399"/>
                      <a:gd name="T67" fmla="*/ 272 h 344"/>
                      <a:gd name="T68" fmla="*/ 163 w 399"/>
                      <a:gd name="T69" fmla="*/ 273 h 344"/>
                      <a:gd name="T70" fmla="*/ 165 w 399"/>
                      <a:gd name="T71" fmla="*/ 291 h 344"/>
                      <a:gd name="T72" fmla="*/ 173 w 399"/>
                      <a:gd name="T73" fmla="*/ 310 h 344"/>
                      <a:gd name="T74" fmla="*/ 193 w 399"/>
                      <a:gd name="T75" fmla="*/ 330 h 344"/>
                      <a:gd name="T76" fmla="*/ 206 w 399"/>
                      <a:gd name="T77" fmla="*/ 339 h 344"/>
                      <a:gd name="T78" fmla="*/ 215 w 399"/>
                      <a:gd name="T79" fmla="*/ 344 h 344"/>
                      <a:gd name="T80" fmla="*/ 235 w 399"/>
                      <a:gd name="T81" fmla="*/ 322 h 344"/>
                      <a:gd name="T82" fmla="*/ 241 w 399"/>
                      <a:gd name="T83" fmla="*/ 296 h 344"/>
                      <a:gd name="T84" fmla="*/ 237 w 399"/>
                      <a:gd name="T85" fmla="*/ 279 h 344"/>
                      <a:gd name="T86" fmla="*/ 238 w 399"/>
                      <a:gd name="T87" fmla="*/ 263 h 344"/>
                      <a:gd name="T88" fmla="*/ 242 w 399"/>
                      <a:gd name="T89" fmla="*/ 257 h 344"/>
                      <a:gd name="T90" fmla="*/ 260 w 399"/>
                      <a:gd name="T91" fmla="*/ 257 h 344"/>
                      <a:gd name="T92" fmla="*/ 275 w 399"/>
                      <a:gd name="T93" fmla="*/ 268 h 344"/>
                      <a:gd name="T94" fmla="*/ 282 w 399"/>
                      <a:gd name="T95" fmla="*/ 281 h 344"/>
                      <a:gd name="T96" fmla="*/ 284 w 399"/>
                      <a:gd name="T97" fmla="*/ 299 h 344"/>
                      <a:gd name="T98" fmla="*/ 275 w 399"/>
                      <a:gd name="T99" fmla="*/ 314 h 344"/>
                      <a:gd name="T100" fmla="*/ 287 w 399"/>
                      <a:gd name="T101" fmla="*/ 302 h 344"/>
                      <a:gd name="T102" fmla="*/ 315 w 399"/>
                      <a:gd name="T103" fmla="*/ 296 h 344"/>
                      <a:gd name="T104" fmla="*/ 320 w 399"/>
                      <a:gd name="T105" fmla="*/ 296 h 344"/>
                      <a:gd name="T106" fmla="*/ 330 w 399"/>
                      <a:gd name="T107" fmla="*/ 280 h 344"/>
                      <a:gd name="T108" fmla="*/ 330 w 399"/>
                      <a:gd name="T109" fmla="*/ 266 h 344"/>
                      <a:gd name="T110" fmla="*/ 344 w 399"/>
                      <a:gd name="T111" fmla="*/ 255 h 344"/>
                      <a:gd name="T112" fmla="*/ 357 w 399"/>
                      <a:gd name="T113" fmla="*/ 243 h 344"/>
                      <a:gd name="T114" fmla="*/ 341 w 399"/>
                      <a:gd name="T115" fmla="*/ 242 h 344"/>
                      <a:gd name="T116" fmla="*/ 320 w 399"/>
                      <a:gd name="T117" fmla="*/ 216 h 344"/>
                      <a:gd name="T118" fmla="*/ 351 w 399"/>
                      <a:gd name="T119" fmla="*/ 196 h 344"/>
                      <a:gd name="T120" fmla="*/ 378 w 399"/>
                      <a:gd name="T121" fmla="*/ 185 h 344"/>
                      <a:gd name="T122" fmla="*/ 399 w 399"/>
                      <a:gd name="T123" fmla="*/ 169 h 3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399" h="344">
                        <a:moveTo>
                          <a:pt x="399" y="169"/>
                        </a:moveTo>
                        <a:cubicBezTo>
                          <a:pt x="398" y="169"/>
                          <a:pt x="396" y="167"/>
                          <a:pt x="396" y="165"/>
                        </a:cubicBezTo>
                        <a:cubicBezTo>
                          <a:pt x="395" y="165"/>
                          <a:pt x="394" y="166"/>
                          <a:pt x="394" y="167"/>
                        </a:cubicBezTo>
                        <a:cubicBezTo>
                          <a:pt x="393" y="167"/>
                          <a:pt x="393" y="167"/>
                          <a:pt x="392" y="167"/>
                        </a:cubicBezTo>
                        <a:cubicBezTo>
                          <a:pt x="392" y="168"/>
                          <a:pt x="391" y="170"/>
                          <a:pt x="391" y="171"/>
                        </a:cubicBezTo>
                        <a:cubicBezTo>
                          <a:pt x="389" y="171"/>
                          <a:pt x="389" y="169"/>
                          <a:pt x="388" y="167"/>
                        </a:cubicBezTo>
                        <a:cubicBezTo>
                          <a:pt x="386" y="167"/>
                          <a:pt x="383" y="171"/>
                          <a:pt x="382" y="169"/>
                        </a:cubicBezTo>
                        <a:cubicBezTo>
                          <a:pt x="380" y="167"/>
                          <a:pt x="378" y="167"/>
                          <a:pt x="375" y="167"/>
                        </a:cubicBezTo>
                        <a:cubicBezTo>
                          <a:pt x="375" y="168"/>
                          <a:pt x="375" y="169"/>
                          <a:pt x="375" y="171"/>
                        </a:cubicBezTo>
                        <a:cubicBezTo>
                          <a:pt x="370" y="171"/>
                          <a:pt x="363" y="168"/>
                          <a:pt x="364" y="175"/>
                        </a:cubicBezTo>
                        <a:cubicBezTo>
                          <a:pt x="360" y="175"/>
                          <a:pt x="362" y="167"/>
                          <a:pt x="366" y="167"/>
                        </a:cubicBezTo>
                        <a:cubicBezTo>
                          <a:pt x="366" y="166"/>
                          <a:pt x="366" y="166"/>
                          <a:pt x="366" y="166"/>
                        </a:cubicBezTo>
                        <a:cubicBezTo>
                          <a:pt x="368" y="166"/>
                          <a:pt x="370" y="166"/>
                          <a:pt x="372" y="166"/>
                        </a:cubicBezTo>
                        <a:cubicBezTo>
                          <a:pt x="372" y="164"/>
                          <a:pt x="376" y="164"/>
                          <a:pt x="378" y="164"/>
                        </a:cubicBezTo>
                        <a:cubicBezTo>
                          <a:pt x="377" y="160"/>
                          <a:pt x="372" y="161"/>
                          <a:pt x="369" y="161"/>
                        </a:cubicBezTo>
                        <a:cubicBezTo>
                          <a:pt x="369" y="158"/>
                          <a:pt x="369" y="156"/>
                          <a:pt x="372" y="156"/>
                        </a:cubicBezTo>
                        <a:cubicBezTo>
                          <a:pt x="372" y="155"/>
                          <a:pt x="372" y="154"/>
                          <a:pt x="374" y="154"/>
                        </a:cubicBezTo>
                        <a:cubicBezTo>
                          <a:pt x="375" y="149"/>
                          <a:pt x="370" y="152"/>
                          <a:pt x="370" y="149"/>
                        </a:cubicBezTo>
                        <a:cubicBezTo>
                          <a:pt x="370" y="149"/>
                          <a:pt x="374" y="149"/>
                          <a:pt x="372" y="147"/>
                        </a:cubicBezTo>
                        <a:cubicBezTo>
                          <a:pt x="371" y="146"/>
                          <a:pt x="370" y="146"/>
                          <a:pt x="369" y="146"/>
                        </a:cubicBezTo>
                        <a:cubicBezTo>
                          <a:pt x="367" y="145"/>
                          <a:pt x="363" y="145"/>
                          <a:pt x="363" y="142"/>
                        </a:cubicBezTo>
                        <a:cubicBezTo>
                          <a:pt x="363" y="137"/>
                          <a:pt x="356" y="129"/>
                          <a:pt x="361" y="124"/>
                        </a:cubicBezTo>
                        <a:cubicBezTo>
                          <a:pt x="363" y="122"/>
                          <a:pt x="364" y="122"/>
                          <a:pt x="362" y="120"/>
                        </a:cubicBezTo>
                        <a:cubicBezTo>
                          <a:pt x="360" y="121"/>
                          <a:pt x="359" y="123"/>
                          <a:pt x="357" y="124"/>
                        </a:cubicBezTo>
                        <a:cubicBezTo>
                          <a:pt x="355" y="126"/>
                          <a:pt x="350" y="126"/>
                          <a:pt x="347" y="125"/>
                        </a:cubicBezTo>
                        <a:cubicBezTo>
                          <a:pt x="348" y="126"/>
                          <a:pt x="348" y="127"/>
                          <a:pt x="348" y="128"/>
                        </a:cubicBezTo>
                        <a:cubicBezTo>
                          <a:pt x="345" y="128"/>
                          <a:pt x="343" y="128"/>
                          <a:pt x="343" y="131"/>
                        </a:cubicBezTo>
                        <a:cubicBezTo>
                          <a:pt x="338" y="133"/>
                          <a:pt x="340" y="124"/>
                          <a:pt x="341" y="122"/>
                        </a:cubicBezTo>
                        <a:cubicBezTo>
                          <a:pt x="341" y="119"/>
                          <a:pt x="340" y="111"/>
                          <a:pt x="344" y="110"/>
                        </a:cubicBezTo>
                        <a:cubicBezTo>
                          <a:pt x="344" y="109"/>
                          <a:pt x="344" y="109"/>
                          <a:pt x="344" y="109"/>
                        </a:cubicBezTo>
                        <a:cubicBezTo>
                          <a:pt x="341" y="108"/>
                          <a:pt x="339" y="103"/>
                          <a:pt x="337" y="105"/>
                        </a:cubicBezTo>
                        <a:cubicBezTo>
                          <a:pt x="337" y="106"/>
                          <a:pt x="336" y="107"/>
                          <a:pt x="336" y="109"/>
                        </a:cubicBezTo>
                        <a:cubicBezTo>
                          <a:pt x="335" y="109"/>
                          <a:pt x="332" y="108"/>
                          <a:pt x="331" y="109"/>
                        </a:cubicBezTo>
                        <a:cubicBezTo>
                          <a:pt x="330" y="110"/>
                          <a:pt x="331" y="112"/>
                          <a:pt x="330" y="113"/>
                        </a:cubicBezTo>
                        <a:cubicBezTo>
                          <a:pt x="323" y="114"/>
                          <a:pt x="322" y="103"/>
                          <a:pt x="313" y="105"/>
                        </a:cubicBezTo>
                        <a:cubicBezTo>
                          <a:pt x="313" y="106"/>
                          <a:pt x="314" y="107"/>
                          <a:pt x="316" y="107"/>
                        </a:cubicBezTo>
                        <a:cubicBezTo>
                          <a:pt x="316" y="107"/>
                          <a:pt x="315" y="107"/>
                          <a:pt x="315" y="107"/>
                        </a:cubicBezTo>
                        <a:cubicBezTo>
                          <a:pt x="314" y="109"/>
                          <a:pt x="315" y="111"/>
                          <a:pt x="316" y="113"/>
                        </a:cubicBezTo>
                        <a:cubicBezTo>
                          <a:pt x="314" y="113"/>
                          <a:pt x="309" y="111"/>
                          <a:pt x="308" y="114"/>
                        </a:cubicBezTo>
                        <a:cubicBezTo>
                          <a:pt x="308" y="116"/>
                          <a:pt x="309" y="119"/>
                          <a:pt x="309" y="121"/>
                        </a:cubicBezTo>
                        <a:cubicBezTo>
                          <a:pt x="308" y="121"/>
                          <a:pt x="307" y="120"/>
                          <a:pt x="305" y="120"/>
                        </a:cubicBezTo>
                        <a:cubicBezTo>
                          <a:pt x="305" y="120"/>
                          <a:pt x="304" y="121"/>
                          <a:pt x="303" y="121"/>
                        </a:cubicBezTo>
                        <a:cubicBezTo>
                          <a:pt x="293" y="119"/>
                          <a:pt x="304" y="107"/>
                          <a:pt x="302" y="103"/>
                        </a:cubicBezTo>
                        <a:cubicBezTo>
                          <a:pt x="301" y="99"/>
                          <a:pt x="298" y="96"/>
                          <a:pt x="295" y="94"/>
                        </a:cubicBezTo>
                        <a:cubicBezTo>
                          <a:pt x="292" y="93"/>
                          <a:pt x="291" y="91"/>
                          <a:pt x="291" y="88"/>
                        </a:cubicBezTo>
                        <a:cubicBezTo>
                          <a:pt x="289" y="88"/>
                          <a:pt x="285" y="89"/>
                          <a:pt x="284" y="86"/>
                        </a:cubicBezTo>
                        <a:cubicBezTo>
                          <a:pt x="284" y="84"/>
                          <a:pt x="283" y="82"/>
                          <a:pt x="282" y="80"/>
                        </a:cubicBezTo>
                        <a:cubicBezTo>
                          <a:pt x="279" y="74"/>
                          <a:pt x="280" y="67"/>
                          <a:pt x="281" y="61"/>
                        </a:cubicBezTo>
                        <a:cubicBezTo>
                          <a:pt x="281" y="62"/>
                          <a:pt x="278" y="60"/>
                          <a:pt x="278" y="60"/>
                        </a:cubicBezTo>
                        <a:cubicBezTo>
                          <a:pt x="277" y="59"/>
                          <a:pt x="278" y="57"/>
                          <a:pt x="278" y="56"/>
                        </a:cubicBezTo>
                        <a:cubicBezTo>
                          <a:pt x="278" y="53"/>
                          <a:pt x="278" y="50"/>
                          <a:pt x="274" y="50"/>
                        </a:cubicBezTo>
                        <a:cubicBezTo>
                          <a:pt x="274" y="49"/>
                          <a:pt x="274" y="49"/>
                          <a:pt x="274" y="48"/>
                        </a:cubicBezTo>
                        <a:cubicBezTo>
                          <a:pt x="271" y="48"/>
                          <a:pt x="262" y="53"/>
                          <a:pt x="261" y="47"/>
                        </a:cubicBezTo>
                        <a:cubicBezTo>
                          <a:pt x="260" y="48"/>
                          <a:pt x="260" y="47"/>
                          <a:pt x="259" y="47"/>
                        </a:cubicBezTo>
                        <a:cubicBezTo>
                          <a:pt x="259" y="46"/>
                          <a:pt x="259" y="45"/>
                          <a:pt x="259" y="44"/>
                        </a:cubicBezTo>
                        <a:cubicBezTo>
                          <a:pt x="256" y="43"/>
                          <a:pt x="251" y="39"/>
                          <a:pt x="250" y="44"/>
                        </a:cubicBezTo>
                        <a:cubicBezTo>
                          <a:pt x="247" y="43"/>
                          <a:pt x="245" y="42"/>
                          <a:pt x="242" y="43"/>
                        </a:cubicBezTo>
                        <a:cubicBezTo>
                          <a:pt x="242" y="42"/>
                          <a:pt x="241" y="42"/>
                          <a:pt x="241" y="41"/>
                        </a:cubicBezTo>
                        <a:cubicBezTo>
                          <a:pt x="240" y="41"/>
                          <a:pt x="238" y="40"/>
                          <a:pt x="238" y="38"/>
                        </a:cubicBezTo>
                        <a:cubicBezTo>
                          <a:pt x="239" y="38"/>
                          <a:pt x="241" y="38"/>
                          <a:pt x="242" y="38"/>
                        </a:cubicBezTo>
                        <a:cubicBezTo>
                          <a:pt x="242" y="36"/>
                          <a:pt x="241" y="33"/>
                          <a:pt x="242" y="31"/>
                        </a:cubicBezTo>
                        <a:cubicBezTo>
                          <a:pt x="244" y="29"/>
                          <a:pt x="244" y="27"/>
                          <a:pt x="243" y="25"/>
                        </a:cubicBezTo>
                        <a:cubicBezTo>
                          <a:pt x="242" y="25"/>
                          <a:pt x="241" y="25"/>
                          <a:pt x="240" y="24"/>
                        </a:cubicBezTo>
                        <a:cubicBezTo>
                          <a:pt x="239" y="22"/>
                          <a:pt x="239" y="18"/>
                          <a:pt x="242" y="18"/>
                        </a:cubicBezTo>
                        <a:cubicBezTo>
                          <a:pt x="243" y="18"/>
                          <a:pt x="243" y="16"/>
                          <a:pt x="242" y="15"/>
                        </a:cubicBezTo>
                        <a:cubicBezTo>
                          <a:pt x="242" y="15"/>
                          <a:pt x="240" y="15"/>
                          <a:pt x="239" y="15"/>
                        </a:cubicBezTo>
                        <a:cubicBezTo>
                          <a:pt x="238" y="14"/>
                          <a:pt x="238" y="12"/>
                          <a:pt x="238" y="11"/>
                        </a:cubicBezTo>
                        <a:cubicBezTo>
                          <a:pt x="237" y="10"/>
                          <a:pt x="237" y="10"/>
                          <a:pt x="237" y="10"/>
                        </a:cubicBezTo>
                        <a:cubicBezTo>
                          <a:pt x="235" y="9"/>
                          <a:pt x="232" y="10"/>
                          <a:pt x="229" y="9"/>
                        </a:cubicBezTo>
                        <a:cubicBezTo>
                          <a:pt x="226" y="8"/>
                          <a:pt x="224" y="7"/>
                          <a:pt x="221" y="7"/>
                        </a:cubicBezTo>
                        <a:cubicBezTo>
                          <a:pt x="219" y="7"/>
                          <a:pt x="215" y="8"/>
                          <a:pt x="216" y="6"/>
                        </a:cubicBezTo>
                        <a:cubicBezTo>
                          <a:pt x="216" y="2"/>
                          <a:pt x="215" y="1"/>
                          <a:pt x="213" y="0"/>
                        </a:cubicBezTo>
                        <a:cubicBezTo>
                          <a:pt x="212" y="1"/>
                          <a:pt x="211" y="1"/>
                          <a:pt x="210" y="2"/>
                        </a:cubicBezTo>
                        <a:cubicBezTo>
                          <a:pt x="209" y="5"/>
                          <a:pt x="209" y="7"/>
                          <a:pt x="206" y="7"/>
                        </a:cubicBezTo>
                        <a:cubicBezTo>
                          <a:pt x="203" y="7"/>
                          <a:pt x="201" y="6"/>
                          <a:pt x="199" y="6"/>
                        </a:cubicBezTo>
                        <a:cubicBezTo>
                          <a:pt x="195" y="6"/>
                          <a:pt x="193" y="7"/>
                          <a:pt x="190" y="8"/>
                        </a:cubicBezTo>
                        <a:cubicBezTo>
                          <a:pt x="189" y="14"/>
                          <a:pt x="188" y="18"/>
                          <a:pt x="186" y="23"/>
                        </a:cubicBezTo>
                        <a:cubicBezTo>
                          <a:pt x="185" y="25"/>
                          <a:pt x="184" y="28"/>
                          <a:pt x="183" y="31"/>
                        </a:cubicBezTo>
                        <a:cubicBezTo>
                          <a:pt x="182" y="33"/>
                          <a:pt x="181" y="36"/>
                          <a:pt x="179" y="37"/>
                        </a:cubicBezTo>
                        <a:cubicBezTo>
                          <a:pt x="173" y="42"/>
                          <a:pt x="172" y="48"/>
                          <a:pt x="166" y="52"/>
                        </a:cubicBezTo>
                        <a:cubicBezTo>
                          <a:pt x="161" y="56"/>
                          <a:pt x="156" y="56"/>
                          <a:pt x="151" y="60"/>
                        </a:cubicBezTo>
                        <a:cubicBezTo>
                          <a:pt x="149" y="62"/>
                          <a:pt x="147" y="61"/>
                          <a:pt x="144" y="62"/>
                        </a:cubicBezTo>
                        <a:cubicBezTo>
                          <a:pt x="139" y="63"/>
                          <a:pt x="136" y="68"/>
                          <a:pt x="134" y="72"/>
                        </a:cubicBezTo>
                        <a:cubicBezTo>
                          <a:pt x="131" y="73"/>
                          <a:pt x="133" y="77"/>
                          <a:pt x="132" y="80"/>
                        </a:cubicBezTo>
                        <a:cubicBezTo>
                          <a:pt x="131" y="82"/>
                          <a:pt x="130" y="82"/>
                          <a:pt x="128" y="83"/>
                        </a:cubicBezTo>
                        <a:cubicBezTo>
                          <a:pt x="125" y="84"/>
                          <a:pt x="123" y="85"/>
                          <a:pt x="122" y="87"/>
                        </a:cubicBezTo>
                        <a:cubicBezTo>
                          <a:pt x="119" y="91"/>
                          <a:pt x="119" y="96"/>
                          <a:pt x="115" y="99"/>
                        </a:cubicBezTo>
                        <a:cubicBezTo>
                          <a:pt x="109" y="104"/>
                          <a:pt x="101" y="102"/>
                          <a:pt x="94" y="101"/>
                        </a:cubicBezTo>
                        <a:cubicBezTo>
                          <a:pt x="89" y="101"/>
                          <a:pt x="85" y="102"/>
                          <a:pt x="82" y="103"/>
                        </a:cubicBezTo>
                        <a:cubicBezTo>
                          <a:pt x="77" y="105"/>
                          <a:pt x="73" y="109"/>
                          <a:pt x="68" y="107"/>
                        </a:cubicBezTo>
                        <a:cubicBezTo>
                          <a:pt x="65" y="107"/>
                          <a:pt x="60" y="102"/>
                          <a:pt x="60" y="99"/>
                        </a:cubicBezTo>
                        <a:cubicBezTo>
                          <a:pt x="59" y="96"/>
                          <a:pt x="61" y="94"/>
                          <a:pt x="58" y="92"/>
                        </a:cubicBezTo>
                        <a:cubicBezTo>
                          <a:pt x="52" y="87"/>
                          <a:pt x="43" y="91"/>
                          <a:pt x="39" y="96"/>
                        </a:cubicBezTo>
                        <a:cubicBezTo>
                          <a:pt x="38" y="97"/>
                          <a:pt x="38" y="98"/>
                          <a:pt x="37" y="100"/>
                        </a:cubicBezTo>
                        <a:cubicBezTo>
                          <a:pt x="35" y="102"/>
                          <a:pt x="33" y="104"/>
                          <a:pt x="30" y="107"/>
                        </a:cubicBezTo>
                        <a:cubicBezTo>
                          <a:pt x="28" y="110"/>
                          <a:pt x="25" y="114"/>
                          <a:pt x="22" y="116"/>
                        </a:cubicBezTo>
                        <a:cubicBezTo>
                          <a:pt x="19" y="118"/>
                          <a:pt x="15" y="120"/>
                          <a:pt x="11" y="122"/>
                        </a:cubicBezTo>
                        <a:cubicBezTo>
                          <a:pt x="6" y="125"/>
                          <a:pt x="7" y="127"/>
                          <a:pt x="5" y="133"/>
                        </a:cubicBezTo>
                        <a:cubicBezTo>
                          <a:pt x="5" y="135"/>
                          <a:pt x="3" y="136"/>
                          <a:pt x="3" y="139"/>
                        </a:cubicBezTo>
                        <a:cubicBezTo>
                          <a:pt x="0" y="148"/>
                          <a:pt x="7" y="148"/>
                          <a:pt x="12" y="152"/>
                        </a:cubicBezTo>
                        <a:cubicBezTo>
                          <a:pt x="13" y="153"/>
                          <a:pt x="14" y="154"/>
                          <a:pt x="15" y="155"/>
                        </a:cubicBezTo>
                        <a:cubicBezTo>
                          <a:pt x="16" y="156"/>
                          <a:pt x="16" y="157"/>
                          <a:pt x="18" y="157"/>
                        </a:cubicBezTo>
                        <a:cubicBezTo>
                          <a:pt x="19" y="157"/>
                          <a:pt x="19" y="156"/>
                          <a:pt x="19" y="156"/>
                        </a:cubicBezTo>
                        <a:cubicBezTo>
                          <a:pt x="22" y="155"/>
                          <a:pt x="27" y="156"/>
                          <a:pt x="29" y="158"/>
                        </a:cubicBezTo>
                        <a:cubicBezTo>
                          <a:pt x="33" y="160"/>
                          <a:pt x="31" y="164"/>
                          <a:pt x="31" y="168"/>
                        </a:cubicBezTo>
                        <a:cubicBezTo>
                          <a:pt x="31" y="170"/>
                          <a:pt x="31" y="172"/>
                          <a:pt x="30" y="173"/>
                        </a:cubicBezTo>
                        <a:cubicBezTo>
                          <a:pt x="29" y="175"/>
                          <a:pt x="28" y="175"/>
                          <a:pt x="27" y="177"/>
                        </a:cubicBezTo>
                        <a:cubicBezTo>
                          <a:pt x="25" y="179"/>
                          <a:pt x="25" y="184"/>
                          <a:pt x="25" y="187"/>
                        </a:cubicBezTo>
                        <a:cubicBezTo>
                          <a:pt x="26" y="188"/>
                          <a:pt x="28" y="189"/>
                          <a:pt x="28" y="190"/>
                        </a:cubicBezTo>
                        <a:cubicBezTo>
                          <a:pt x="29" y="191"/>
                          <a:pt x="28" y="193"/>
                          <a:pt x="28" y="195"/>
                        </a:cubicBezTo>
                        <a:cubicBezTo>
                          <a:pt x="32" y="195"/>
                          <a:pt x="30" y="197"/>
                          <a:pt x="31" y="198"/>
                        </a:cubicBezTo>
                        <a:cubicBezTo>
                          <a:pt x="32" y="199"/>
                          <a:pt x="34" y="199"/>
                          <a:pt x="35" y="200"/>
                        </a:cubicBezTo>
                        <a:cubicBezTo>
                          <a:pt x="38" y="201"/>
                          <a:pt x="41" y="201"/>
                          <a:pt x="45" y="201"/>
                        </a:cubicBezTo>
                        <a:cubicBezTo>
                          <a:pt x="51" y="201"/>
                          <a:pt x="50" y="202"/>
                          <a:pt x="50" y="208"/>
                        </a:cubicBezTo>
                        <a:cubicBezTo>
                          <a:pt x="50" y="211"/>
                          <a:pt x="50" y="214"/>
                          <a:pt x="51" y="217"/>
                        </a:cubicBezTo>
                        <a:cubicBezTo>
                          <a:pt x="52" y="220"/>
                          <a:pt x="54" y="223"/>
                          <a:pt x="55" y="226"/>
                        </a:cubicBezTo>
                        <a:cubicBezTo>
                          <a:pt x="57" y="229"/>
                          <a:pt x="59" y="231"/>
                          <a:pt x="60" y="234"/>
                        </a:cubicBezTo>
                        <a:cubicBezTo>
                          <a:pt x="60" y="238"/>
                          <a:pt x="62" y="239"/>
                          <a:pt x="64" y="243"/>
                        </a:cubicBezTo>
                        <a:cubicBezTo>
                          <a:pt x="66" y="245"/>
                          <a:pt x="70" y="250"/>
                          <a:pt x="70" y="253"/>
                        </a:cubicBezTo>
                        <a:cubicBezTo>
                          <a:pt x="73" y="252"/>
                          <a:pt x="77" y="251"/>
                          <a:pt x="78" y="252"/>
                        </a:cubicBezTo>
                        <a:cubicBezTo>
                          <a:pt x="79" y="253"/>
                          <a:pt x="78" y="255"/>
                          <a:pt x="79" y="256"/>
                        </a:cubicBezTo>
                        <a:cubicBezTo>
                          <a:pt x="79" y="258"/>
                          <a:pt x="81" y="258"/>
                          <a:pt x="83" y="258"/>
                        </a:cubicBezTo>
                        <a:cubicBezTo>
                          <a:pt x="83" y="257"/>
                          <a:pt x="83" y="256"/>
                          <a:pt x="83" y="255"/>
                        </a:cubicBezTo>
                        <a:cubicBezTo>
                          <a:pt x="86" y="255"/>
                          <a:pt x="89" y="254"/>
                          <a:pt x="92" y="255"/>
                        </a:cubicBezTo>
                        <a:cubicBezTo>
                          <a:pt x="94" y="256"/>
                          <a:pt x="96" y="257"/>
                          <a:pt x="98" y="257"/>
                        </a:cubicBezTo>
                        <a:cubicBezTo>
                          <a:pt x="100" y="256"/>
                          <a:pt x="103" y="256"/>
                          <a:pt x="103" y="259"/>
                        </a:cubicBezTo>
                        <a:cubicBezTo>
                          <a:pt x="104" y="260"/>
                          <a:pt x="105" y="262"/>
                          <a:pt x="107" y="262"/>
                        </a:cubicBezTo>
                        <a:cubicBezTo>
                          <a:pt x="107" y="260"/>
                          <a:pt x="108" y="258"/>
                          <a:pt x="109" y="258"/>
                        </a:cubicBezTo>
                        <a:cubicBezTo>
                          <a:pt x="109" y="259"/>
                          <a:pt x="110" y="260"/>
                          <a:pt x="111" y="260"/>
                        </a:cubicBezTo>
                        <a:cubicBezTo>
                          <a:pt x="112" y="258"/>
                          <a:pt x="116" y="256"/>
                          <a:pt x="118" y="256"/>
                        </a:cubicBezTo>
                        <a:cubicBezTo>
                          <a:pt x="118" y="258"/>
                          <a:pt x="118" y="260"/>
                          <a:pt x="120" y="261"/>
                        </a:cubicBezTo>
                        <a:cubicBezTo>
                          <a:pt x="122" y="262"/>
                          <a:pt x="126" y="260"/>
                          <a:pt x="127" y="262"/>
                        </a:cubicBezTo>
                        <a:cubicBezTo>
                          <a:pt x="128" y="264"/>
                          <a:pt x="128" y="265"/>
                          <a:pt x="130" y="267"/>
                        </a:cubicBezTo>
                        <a:cubicBezTo>
                          <a:pt x="132" y="268"/>
                          <a:pt x="132" y="269"/>
                          <a:pt x="132" y="272"/>
                        </a:cubicBezTo>
                        <a:cubicBezTo>
                          <a:pt x="134" y="271"/>
                          <a:pt x="135" y="270"/>
                          <a:pt x="136" y="268"/>
                        </a:cubicBezTo>
                        <a:cubicBezTo>
                          <a:pt x="138" y="267"/>
                          <a:pt x="140" y="272"/>
                          <a:pt x="143" y="272"/>
                        </a:cubicBezTo>
                        <a:cubicBezTo>
                          <a:pt x="143" y="274"/>
                          <a:pt x="143" y="275"/>
                          <a:pt x="143" y="277"/>
                        </a:cubicBezTo>
                        <a:cubicBezTo>
                          <a:pt x="146" y="277"/>
                          <a:pt x="152" y="275"/>
                          <a:pt x="153" y="279"/>
                        </a:cubicBezTo>
                        <a:cubicBezTo>
                          <a:pt x="156" y="280"/>
                          <a:pt x="156" y="275"/>
                          <a:pt x="157" y="273"/>
                        </a:cubicBezTo>
                        <a:cubicBezTo>
                          <a:pt x="158" y="271"/>
                          <a:pt x="161" y="272"/>
                          <a:pt x="163" y="273"/>
                        </a:cubicBezTo>
                        <a:cubicBezTo>
                          <a:pt x="163" y="275"/>
                          <a:pt x="162" y="277"/>
                          <a:pt x="163" y="278"/>
                        </a:cubicBezTo>
                        <a:cubicBezTo>
                          <a:pt x="164" y="279"/>
                          <a:pt x="166" y="278"/>
                          <a:pt x="167" y="279"/>
                        </a:cubicBezTo>
                        <a:cubicBezTo>
                          <a:pt x="164" y="281"/>
                          <a:pt x="161" y="281"/>
                          <a:pt x="160" y="285"/>
                        </a:cubicBezTo>
                        <a:cubicBezTo>
                          <a:pt x="160" y="288"/>
                          <a:pt x="162" y="292"/>
                          <a:pt x="165" y="291"/>
                        </a:cubicBezTo>
                        <a:cubicBezTo>
                          <a:pt x="164" y="295"/>
                          <a:pt x="166" y="297"/>
                          <a:pt x="169" y="294"/>
                        </a:cubicBezTo>
                        <a:cubicBezTo>
                          <a:pt x="172" y="290"/>
                          <a:pt x="176" y="295"/>
                          <a:pt x="175" y="299"/>
                        </a:cubicBezTo>
                        <a:cubicBezTo>
                          <a:pt x="174" y="301"/>
                          <a:pt x="167" y="305"/>
                          <a:pt x="169" y="308"/>
                        </a:cubicBezTo>
                        <a:cubicBezTo>
                          <a:pt x="170" y="310"/>
                          <a:pt x="172" y="309"/>
                          <a:pt x="173" y="310"/>
                        </a:cubicBezTo>
                        <a:cubicBezTo>
                          <a:pt x="175" y="312"/>
                          <a:pt x="173" y="315"/>
                          <a:pt x="175" y="317"/>
                        </a:cubicBezTo>
                        <a:cubicBezTo>
                          <a:pt x="184" y="312"/>
                          <a:pt x="177" y="322"/>
                          <a:pt x="181" y="325"/>
                        </a:cubicBezTo>
                        <a:cubicBezTo>
                          <a:pt x="182" y="327"/>
                          <a:pt x="186" y="326"/>
                          <a:pt x="188" y="326"/>
                        </a:cubicBezTo>
                        <a:cubicBezTo>
                          <a:pt x="190" y="327"/>
                          <a:pt x="190" y="331"/>
                          <a:pt x="193" y="330"/>
                        </a:cubicBezTo>
                        <a:cubicBezTo>
                          <a:pt x="193" y="331"/>
                          <a:pt x="193" y="331"/>
                          <a:pt x="193" y="331"/>
                        </a:cubicBezTo>
                        <a:cubicBezTo>
                          <a:pt x="195" y="331"/>
                          <a:pt x="198" y="330"/>
                          <a:pt x="200" y="332"/>
                        </a:cubicBezTo>
                        <a:cubicBezTo>
                          <a:pt x="202" y="334"/>
                          <a:pt x="201" y="335"/>
                          <a:pt x="200" y="338"/>
                        </a:cubicBezTo>
                        <a:cubicBezTo>
                          <a:pt x="200" y="341"/>
                          <a:pt x="205" y="339"/>
                          <a:pt x="206" y="339"/>
                        </a:cubicBezTo>
                        <a:cubicBezTo>
                          <a:pt x="208" y="339"/>
                          <a:pt x="208" y="342"/>
                          <a:pt x="208" y="344"/>
                        </a:cubicBezTo>
                        <a:cubicBezTo>
                          <a:pt x="209" y="344"/>
                          <a:pt x="209" y="344"/>
                          <a:pt x="209" y="344"/>
                        </a:cubicBezTo>
                        <a:cubicBezTo>
                          <a:pt x="210" y="344"/>
                          <a:pt x="210" y="344"/>
                          <a:pt x="210" y="343"/>
                        </a:cubicBezTo>
                        <a:cubicBezTo>
                          <a:pt x="210" y="342"/>
                          <a:pt x="214" y="343"/>
                          <a:pt x="215" y="344"/>
                        </a:cubicBezTo>
                        <a:cubicBezTo>
                          <a:pt x="217" y="340"/>
                          <a:pt x="224" y="342"/>
                          <a:pt x="227" y="338"/>
                        </a:cubicBezTo>
                        <a:cubicBezTo>
                          <a:pt x="229" y="335"/>
                          <a:pt x="221" y="333"/>
                          <a:pt x="219" y="332"/>
                        </a:cubicBezTo>
                        <a:cubicBezTo>
                          <a:pt x="222" y="330"/>
                          <a:pt x="220" y="329"/>
                          <a:pt x="221" y="327"/>
                        </a:cubicBezTo>
                        <a:cubicBezTo>
                          <a:pt x="225" y="325"/>
                          <a:pt x="230" y="324"/>
                          <a:pt x="235" y="322"/>
                        </a:cubicBezTo>
                        <a:cubicBezTo>
                          <a:pt x="238" y="320"/>
                          <a:pt x="239" y="316"/>
                          <a:pt x="239" y="313"/>
                        </a:cubicBezTo>
                        <a:cubicBezTo>
                          <a:pt x="239" y="311"/>
                          <a:pt x="238" y="309"/>
                          <a:pt x="238" y="307"/>
                        </a:cubicBezTo>
                        <a:cubicBezTo>
                          <a:pt x="239" y="304"/>
                          <a:pt x="240" y="303"/>
                          <a:pt x="242" y="301"/>
                        </a:cubicBezTo>
                        <a:cubicBezTo>
                          <a:pt x="243" y="299"/>
                          <a:pt x="242" y="298"/>
                          <a:pt x="241" y="296"/>
                        </a:cubicBezTo>
                        <a:cubicBezTo>
                          <a:pt x="240" y="294"/>
                          <a:pt x="240" y="291"/>
                          <a:pt x="240" y="289"/>
                        </a:cubicBezTo>
                        <a:cubicBezTo>
                          <a:pt x="237" y="288"/>
                          <a:pt x="235" y="288"/>
                          <a:pt x="232" y="288"/>
                        </a:cubicBezTo>
                        <a:cubicBezTo>
                          <a:pt x="233" y="287"/>
                          <a:pt x="235" y="286"/>
                          <a:pt x="235" y="284"/>
                        </a:cubicBezTo>
                        <a:cubicBezTo>
                          <a:pt x="236" y="283"/>
                          <a:pt x="234" y="280"/>
                          <a:pt x="237" y="279"/>
                        </a:cubicBezTo>
                        <a:cubicBezTo>
                          <a:pt x="236" y="278"/>
                          <a:pt x="234" y="277"/>
                          <a:pt x="232" y="277"/>
                        </a:cubicBezTo>
                        <a:cubicBezTo>
                          <a:pt x="232" y="275"/>
                          <a:pt x="231" y="273"/>
                          <a:pt x="232" y="272"/>
                        </a:cubicBezTo>
                        <a:cubicBezTo>
                          <a:pt x="233" y="270"/>
                          <a:pt x="236" y="270"/>
                          <a:pt x="236" y="269"/>
                        </a:cubicBezTo>
                        <a:cubicBezTo>
                          <a:pt x="236" y="266"/>
                          <a:pt x="232" y="262"/>
                          <a:pt x="238" y="263"/>
                        </a:cubicBezTo>
                        <a:cubicBezTo>
                          <a:pt x="237" y="265"/>
                          <a:pt x="239" y="264"/>
                          <a:pt x="240" y="265"/>
                        </a:cubicBezTo>
                        <a:cubicBezTo>
                          <a:pt x="241" y="266"/>
                          <a:pt x="242" y="268"/>
                          <a:pt x="244" y="267"/>
                        </a:cubicBezTo>
                        <a:cubicBezTo>
                          <a:pt x="244" y="262"/>
                          <a:pt x="235" y="258"/>
                          <a:pt x="238" y="253"/>
                        </a:cubicBezTo>
                        <a:cubicBezTo>
                          <a:pt x="241" y="253"/>
                          <a:pt x="241" y="256"/>
                          <a:pt x="242" y="257"/>
                        </a:cubicBezTo>
                        <a:cubicBezTo>
                          <a:pt x="243" y="259"/>
                          <a:pt x="247" y="259"/>
                          <a:pt x="248" y="258"/>
                        </a:cubicBezTo>
                        <a:cubicBezTo>
                          <a:pt x="251" y="257"/>
                          <a:pt x="250" y="254"/>
                          <a:pt x="251" y="252"/>
                        </a:cubicBezTo>
                        <a:cubicBezTo>
                          <a:pt x="253" y="249"/>
                          <a:pt x="258" y="250"/>
                          <a:pt x="261" y="250"/>
                        </a:cubicBezTo>
                        <a:cubicBezTo>
                          <a:pt x="261" y="253"/>
                          <a:pt x="261" y="255"/>
                          <a:pt x="260" y="257"/>
                        </a:cubicBezTo>
                        <a:cubicBezTo>
                          <a:pt x="257" y="256"/>
                          <a:pt x="258" y="260"/>
                          <a:pt x="258" y="262"/>
                        </a:cubicBezTo>
                        <a:cubicBezTo>
                          <a:pt x="254" y="262"/>
                          <a:pt x="253" y="266"/>
                          <a:pt x="257" y="267"/>
                        </a:cubicBezTo>
                        <a:cubicBezTo>
                          <a:pt x="261" y="268"/>
                          <a:pt x="266" y="268"/>
                          <a:pt x="270" y="268"/>
                        </a:cubicBezTo>
                        <a:cubicBezTo>
                          <a:pt x="269" y="273"/>
                          <a:pt x="273" y="270"/>
                          <a:pt x="275" y="268"/>
                        </a:cubicBezTo>
                        <a:cubicBezTo>
                          <a:pt x="278" y="267"/>
                          <a:pt x="279" y="266"/>
                          <a:pt x="282" y="267"/>
                        </a:cubicBezTo>
                        <a:cubicBezTo>
                          <a:pt x="283" y="269"/>
                          <a:pt x="282" y="272"/>
                          <a:pt x="282" y="275"/>
                        </a:cubicBezTo>
                        <a:cubicBezTo>
                          <a:pt x="284" y="275"/>
                          <a:pt x="285" y="275"/>
                          <a:pt x="287" y="275"/>
                        </a:cubicBezTo>
                        <a:cubicBezTo>
                          <a:pt x="287" y="278"/>
                          <a:pt x="286" y="286"/>
                          <a:pt x="282" y="281"/>
                        </a:cubicBezTo>
                        <a:cubicBezTo>
                          <a:pt x="279" y="281"/>
                          <a:pt x="278" y="284"/>
                          <a:pt x="279" y="286"/>
                        </a:cubicBezTo>
                        <a:cubicBezTo>
                          <a:pt x="279" y="288"/>
                          <a:pt x="281" y="287"/>
                          <a:pt x="281" y="290"/>
                        </a:cubicBezTo>
                        <a:cubicBezTo>
                          <a:pt x="281" y="292"/>
                          <a:pt x="280" y="293"/>
                          <a:pt x="280" y="295"/>
                        </a:cubicBezTo>
                        <a:cubicBezTo>
                          <a:pt x="281" y="298"/>
                          <a:pt x="284" y="297"/>
                          <a:pt x="284" y="299"/>
                        </a:cubicBezTo>
                        <a:cubicBezTo>
                          <a:pt x="281" y="300"/>
                          <a:pt x="280" y="302"/>
                          <a:pt x="276" y="302"/>
                        </a:cubicBezTo>
                        <a:cubicBezTo>
                          <a:pt x="274" y="303"/>
                          <a:pt x="272" y="302"/>
                          <a:pt x="270" y="301"/>
                        </a:cubicBezTo>
                        <a:cubicBezTo>
                          <a:pt x="266" y="299"/>
                          <a:pt x="266" y="307"/>
                          <a:pt x="267" y="309"/>
                        </a:cubicBezTo>
                        <a:cubicBezTo>
                          <a:pt x="272" y="309"/>
                          <a:pt x="271" y="312"/>
                          <a:pt x="275" y="314"/>
                        </a:cubicBezTo>
                        <a:cubicBezTo>
                          <a:pt x="275" y="312"/>
                          <a:pt x="275" y="310"/>
                          <a:pt x="276" y="309"/>
                        </a:cubicBezTo>
                        <a:cubicBezTo>
                          <a:pt x="278" y="308"/>
                          <a:pt x="282" y="309"/>
                          <a:pt x="285" y="309"/>
                        </a:cubicBezTo>
                        <a:cubicBezTo>
                          <a:pt x="285" y="308"/>
                          <a:pt x="286" y="307"/>
                          <a:pt x="288" y="308"/>
                        </a:cubicBezTo>
                        <a:cubicBezTo>
                          <a:pt x="288" y="305"/>
                          <a:pt x="287" y="304"/>
                          <a:pt x="287" y="302"/>
                        </a:cubicBezTo>
                        <a:cubicBezTo>
                          <a:pt x="289" y="302"/>
                          <a:pt x="291" y="302"/>
                          <a:pt x="292" y="300"/>
                        </a:cubicBezTo>
                        <a:cubicBezTo>
                          <a:pt x="294" y="298"/>
                          <a:pt x="296" y="295"/>
                          <a:pt x="296" y="292"/>
                        </a:cubicBezTo>
                        <a:cubicBezTo>
                          <a:pt x="299" y="291"/>
                          <a:pt x="302" y="293"/>
                          <a:pt x="306" y="294"/>
                        </a:cubicBezTo>
                        <a:cubicBezTo>
                          <a:pt x="309" y="294"/>
                          <a:pt x="312" y="294"/>
                          <a:pt x="315" y="296"/>
                        </a:cubicBezTo>
                        <a:cubicBezTo>
                          <a:pt x="315" y="295"/>
                          <a:pt x="316" y="294"/>
                          <a:pt x="316" y="293"/>
                        </a:cubicBezTo>
                        <a:cubicBezTo>
                          <a:pt x="317" y="293"/>
                          <a:pt x="318" y="293"/>
                          <a:pt x="320" y="293"/>
                        </a:cubicBezTo>
                        <a:cubicBezTo>
                          <a:pt x="320" y="292"/>
                          <a:pt x="320" y="292"/>
                          <a:pt x="320" y="292"/>
                        </a:cubicBezTo>
                        <a:cubicBezTo>
                          <a:pt x="320" y="293"/>
                          <a:pt x="320" y="295"/>
                          <a:pt x="320" y="296"/>
                        </a:cubicBezTo>
                        <a:cubicBezTo>
                          <a:pt x="322" y="296"/>
                          <a:pt x="323" y="298"/>
                          <a:pt x="325" y="297"/>
                        </a:cubicBezTo>
                        <a:cubicBezTo>
                          <a:pt x="325" y="299"/>
                          <a:pt x="326" y="301"/>
                          <a:pt x="328" y="301"/>
                        </a:cubicBezTo>
                        <a:cubicBezTo>
                          <a:pt x="328" y="298"/>
                          <a:pt x="333" y="298"/>
                          <a:pt x="333" y="296"/>
                        </a:cubicBezTo>
                        <a:cubicBezTo>
                          <a:pt x="329" y="295"/>
                          <a:pt x="331" y="283"/>
                          <a:pt x="330" y="280"/>
                        </a:cubicBezTo>
                        <a:cubicBezTo>
                          <a:pt x="333" y="279"/>
                          <a:pt x="334" y="282"/>
                          <a:pt x="336" y="283"/>
                        </a:cubicBezTo>
                        <a:cubicBezTo>
                          <a:pt x="340" y="284"/>
                          <a:pt x="341" y="279"/>
                          <a:pt x="341" y="277"/>
                        </a:cubicBezTo>
                        <a:cubicBezTo>
                          <a:pt x="341" y="273"/>
                          <a:pt x="340" y="272"/>
                          <a:pt x="337" y="271"/>
                        </a:cubicBezTo>
                        <a:cubicBezTo>
                          <a:pt x="333" y="270"/>
                          <a:pt x="331" y="269"/>
                          <a:pt x="330" y="266"/>
                        </a:cubicBezTo>
                        <a:cubicBezTo>
                          <a:pt x="332" y="266"/>
                          <a:pt x="336" y="266"/>
                          <a:pt x="335" y="263"/>
                        </a:cubicBezTo>
                        <a:cubicBezTo>
                          <a:pt x="335" y="261"/>
                          <a:pt x="333" y="261"/>
                          <a:pt x="333" y="259"/>
                        </a:cubicBezTo>
                        <a:cubicBezTo>
                          <a:pt x="332" y="258"/>
                          <a:pt x="333" y="256"/>
                          <a:pt x="333" y="255"/>
                        </a:cubicBezTo>
                        <a:cubicBezTo>
                          <a:pt x="337" y="254"/>
                          <a:pt x="340" y="255"/>
                          <a:pt x="344" y="255"/>
                        </a:cubicBezTo>
                        <a:cubicBezTo>
                          <a:pt x="347" y="254"/>
                          <a:pt x="349" y="253"/>
                          <a:pt x="352" y="252"/>
                        </a:cubicBezTo>
                        <a:cubicBezTo>
                          <a:pt x="352" y="252"/>
                          <a:pt x="352" y="254"/>
                          <a:pt x="352" y="254"/>
                        </a:cubicBezTo>
                        <a:cubicBezTo>
                          <a:pt x="354" y="254"/>
                          <a:pt x="355" y="253"/>
                          <a:pt x="357" y="254"/>
                        </a:cubicBezTo>
                        <a:cubicBezTo>
                          <a:pt x="357" y="250"/>
                          <a:pt x="357" y="247"/>
                          <a:pt x="357" y="243"/>
                        </a:cubicBezTo>
                        <a:cubicBezTo>
                          <a:pt x="354" y="244"/>
                          <a:pt x="355" y="240"/>
                          <a:pt x="355" y="238"/>
                        </a:cubicBezTo>
                        <a:cubicBezTo>
                          <a:pt x="351" y="238"/>
                          <a:pt x="350" y="239"/>
                          <a:pt x="349" y="243"/>
                        </a:cubicBezTo>
                        <a:cubicBezTo>
                          <a:pt x="348" y="243"/>
                          <a:pt x="347" y="242"/>
                          <a:pt x="346" y="241"/>
                        </a:cubicBezTo>
                        <a:cubicBezTo>
                          <a:pt x="344" y="241"/>
                          <a:pt x="343" y="242"/>
                          <a:pt x="341" y="242"/>
                        </a:cubicBezTo>
                        <a:cubicBezTo>
                          <a:pt x="336" y="243"/>
                          <a:pt x="330" y="242"/>
                          <a:pt x="325" y="240"/>
                        </a:cubicBezTo>
                        <a:cubicBezTo>
                          <a:pt x="322" y="239"/>
                          <a:pt x="321" y="238"/>
                          <a:pt x="320" y="235"/>
                        </a:cubicBezTo>
                        <a:cubicBezTo>
                          <a:pt x="319" y="231"/>
                          <a:pt x="318" y="226"/>
                          <a:pt x="316" y="222"/>
                        </a:cubicBezTo>
                        <a:cubicBezTo>
                          <a:pt x="320" y="223"/>
                          <a:pt x="318" y="218"/>
                          <a:pt x="320" y="216"/>
                        </a:cubicBezTo>
                        <a:cubicBezTo>
                          <a:pt x="324" y="216"/>
                          <a:pt x="328" y="215"/>
                          <a:pt x="331" y="211"/>
                        </a:cubicBezTo>
                        <a:cubicBezTo>
                          <a:pt x="333" y="208"/>
                          <a:pt x="336" y="203"/>
                          <a:pt x="341" y="202"/>
                        </a:cubicBezTo>
                        <a:cubicBezTo>
                          <a:pt x="343" y="202"/>
                          <a:pt x="346" y="202"/>
                          <a:pt x="348" y="200"/>
                        </a:cubicBezTo>
                        <a:cubicBezTo>
                          <a:pt x="349" y="198"/>
                          <a:pt x="349" y="197"/>
                          <a:pt x="351" y="196"/>
                        </a:cubicBezTo>
                        <a:cubicBezTo>
                          <a:pt x="354" y="195"/>
                          <a:pt x="359" y="195"/>
                          <a:pt x="361" y="192"/>
                        </a:cubicBezTo>
                        <a:cubicBezTo>
                          <a:pt x="364" y="192"/>
                          <a:pt x="367" y="191"/>
                          <a:pt x="369" y="189"/>
                        </a:cubicBezTo>
                        <a:cubicBezTo>
                          <a:pt x="370" y="188"/>
                          <a:pt x="371" y="187"/>
                          <a:pt x="372" y="186"/>
                        </a:cubicBezTo>
                        <a:cubicBezTo>
                          <a:pt x="374" y="185"/>
                          <a:pt x="376" y="185"/>
                          <a:pt x="378" y="185"/>
                        </a:cubicBezTo>
                        <a:cubicBezTo>
                          <a:pt x="379" y="177"/>
                          <a:pt x="389" y="180"/>
                          <a:pt x="394" y="179"/>
                        </a:cubicBezTo>
                        <a:cubicBezTo>
                          <a:pt x="395" y="176"/>
                          <a:pt x="395" y="176"/>
                          <a:pt x="395" y="176"/>
                        </a:cubicBezTo>
                        <a:cubicBezTo>
                          <a:pt x="396" y="174"/>
                          <a:pt x="398" y="173"/>
                          <a:pt x="399" y="172"/>
                        </a:cubicBezTo>
                        <a:cubicBezTo>
                          <a:pt x="398" y="172"/>
                          <a:pt x="398" y="170"/>
                          <a:pt x="399" y="169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3" name="Freeform 432">
                    <a:extLst>
                      <a:ext uri="{FF2B5EF4-FFF2-40B4-BE49-F238E27FC236}">
                        <a16:creationId xmlns:a16="http://schemas.microsoft.com/office/drawing/2014/main" xmlns="" id="{2F26F526-8CA4-41BF-B84D-819534ADC7C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33776" y="2422526"/>
                    <a:ext cx="3175" cy="0"/>
                  </a:xfrm>
                  <a:custGeom>
                    <a:avLst/>
                    <a:gdLst>
                      <a:gd name="T0" fmla="*/ 0 w 1"/>
                      <a:gd name="T1" fmla="*/ 1 w 1"/>
                      <a:gd name="T2" fmla="*/ 0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</a:cxnLst>
                    <a:rect l="0" t="0" r="r" b="b"/>
                    <a:pathLst>
                      <a:path w="1">
                        <a:moveTo>
                          <a:pt x="0" y="0"/>
                        </a:moveTo>
                        <a:cubicBezTo>
                          <a:pt x="0" y="0"/>
                          <a:pt x="1" y="0"/>
                          <a:pt x="1" y="0"/>
                        </a:cubicBezTo>
                        <a:cubicBezTo>
                          <a:pt x="1" y="0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4" name="Freeform 433">
                    <a:extLst>
                      <a:ext uri="{FF2B5EF4-FFF2-40B4-BE49-F238E27FC236}">
                        <a16:creationId xmlns:a16="http://schemas.microsoft.com/office/drawing/2014/main" xmlns="" id="{7DE2CCB6-7BAF-48E7-9CD3-DD2C53B53BA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48026" y="2344738"/>
                    <a:ext cx="6350" cy="3175"/>
                  </a:xfrm>
                  <a:custGeom>
                    <a:avLst/>
                    <a:gdLst>
                      <a:gd name="T0" fmla="*/ 0 w 2"/>
                      <a:gd name="T1" fmla="*/ 1 h 1"/>
                      <a:gd name="T2" fmla="*/ 2 w 2"/>
                      <a:gd name="T3" fmla="*/ 0 h 1"/>
                      <a:gd name="T4" fmla="*/ 0 w 2"/>
                      <a:gd name="T5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" h="1">
                        <a:moveTo>
                          <a:pt x="0" y="1"/>
                        </a:moveTo>
                        <a:cubicBezTo>
                          <a:pt x="1" y="1"/>
                          <a:pt x="1" y="1"/>
                          <a:pt x="2" y="0"/>
                        </a:cubicBezTo>
                        <a:cubicBezTo>
                          <a:pt x="1" y="1"/>
                          <a:pt x="1" y="1"/>
                          <a:pt x="0" y="1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5" name="Freeform 434">
                    <a:extLst>
                      <a:ext uri="{FF2B5EF4-FFF2-40B4-BE49-F238E27FC236}">
                        <a16:creationId xmlns:a16="http://schemas.microsoft.com/office/drawing/2014/main" xmlns="" id="{E687CC12-DA46-48A5-883C-2D86569B315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36951" y="4133851"/>
                    <a:ext cx="1401763" cy="1258888"/>
                  </a:xfrm>
                  <a:custGeom>
                    <a:avLst/>
                    <a:gdLst>
                      <a:gd name="T0" fmla="*/ 381 w 396"/>
                      <a:gd name="T1" fmla="*/ 69 h 356"/>
                      <a:gd name="T2" fmla="*/ 360 w 396"/>
                      <a:gd name="T3" fmla="*/ 91 h 356"/>
                      <a:gd name="T4" fmla="*/ 325 w 396"/>
                      <a:gd name="T5" fmla="*/ 118 h 356"/>
                      <a:gd name="T6" fmla="*/ 291 w 396"/>
                      <a:gd name="T7" fmla="*/ 138 h 356"/>
                      <a:gd name="T8" fmla="*/ 278 w 396"/>
                      <a:gd name="T9" fmla="*/ 150 h 356"/>
                      <a:gd name="T10" fmla="*/ 276 w 396"/>
                      <a:gd name="T11" fmla="*/ 166 h 356"/>
                      <a:gd name="T12" fmla="*/ 248 w 396"/>
                      <a:gd name="T13" fmla="*/ 176 h 356"/>
                      <a:gd name="T14" fmla="*/ 233 w 396"/>
                      <a:gd name="T15" fmla="*/ 177 h 356"/>
                      <a:gd name="T16" fmla="*/ 221 w 396"/>
                      <a:gd name="T17" fmla="*/ 194 h 356"/>
                      <a:gd name="T18" fmla="*/ 211 w 396"/>
                      <a:gd name="T19" fmla="*/ 204 h 356"/>
                      <a:gd name="T20" fmla="*/ 203 w 396"/>
                      <a:gd name="T21" fmla="*/ 198 h 356"/>
                      <a:gd name="T22" fmla="*/ 176 w 396"/>
                      <a:gd name="T23" fmla="*/ 215 h 356"/>
                      <a:gd name="T24" fmla="*/ 173 w 396"/>
                      <a:gd name="T25" fmla="*/ 261 h 356"/>
                      <a:gd name="T26" fmla="*/ 170 w 396"/>
                      <a:gd name="T27" fmla="*/ 283 h 356"/>
                      <a:gd name="T28" fmla="*/ 174 w 396"/>
                      <a:gd name="T29" fmla="*/ 315 h 356"/>
                      <a:gd name="T30" fmla="*/ 165 w 396"/>
                      <a:gd name="T31" fmla="*/ 296 h 356"/>
                      <a:gd name="T32" fmla="*/ 163 w 396"/>
                      <a:gd name="T33" fmla="*/ 314 h 356"/>
                      <a:gd name="T34" fmla="*/ 154 w 396"/>
                      <a:gd name="T35" fmla="*/ 324 h 356"/>
                      <a:gd name="T36" fmla="*/ 130 w 396"/>
                      <a:gd name="T37" fmla="*/ 324 h 356"/>
                      <a:gd name="T38" fmla="*/ 106 w 396"/>
                      <a:gd name="T39" fmla="*/ 332 h 356"/>
                      <a:gd name="T40" fmla="*/ 75 w 396"/>
                      <a:gd name="T41" fmla="*/ 354 h 356"/>
                      <a:gd name="T42" fmla="*/ 79 w 396"/>
                      <a:gd name="T43" fmla="*/ 342 h 356"/>
                      <a:gd name="T44" fmla="*/ 76 w 396"/>
                      <a:gd name="T45" fmla="*/ 317 h 356"/>
                      <a:gd name="T46" fmla="*/ 66 w 396"/>
                      <a:gd name="T47" fmla="*/ 303 h 356"/>
                      <a:gd name="T48" fmla="*/ 58 w 396"/>
                      <a:gd name="T49" fmla="*/ 288 h 356"/>
                      <a:gd name="T50" fmla="*/ 46 w 396"/>
                      <a:gd name="T51" fmla="*/ 295 h 356"/>
                      <a:gd name="T52" fmla="*/ 30 w 396"/>
                      <a:gd name="T53" fmla="*/ 292 h 356"/>
                      <a:gd name="T54" fmla="*/ 12 w 396"/>
                      <a:gd name="T55" fmla="*/ 284 h 356"/>
                      <a:gd name="T56" fmla="*/ 18 w 396"/>
                      <a:gd name="T57" fmla="*/ 285 h 356"/>
                      <a:gd name="T58" fmla="*/ 33 w 396"/>
                      <a:gd name="T59" fmla="*/ 273 h 356"/>
                      <a:gd name="T60" fmla="*/ 25 w 396"/>
                      <a:gd name="T61" fmla="*/ 268 h 356"/>
                      <a:gd name="T62" fmla="*/ 6 w 396"/>
                      <a:gd name="T63" fmla="*/ 265 h 356"/>
                      <a:gd name="T64" fmla="*/ 1 w 396"/>
                      <a:gd name="T65" fmla="*/ 257 h 356"/>
                      <a:gd name="T66" fmla="*/ 3 w 396"/>
                      <a:gd name="T67" fmla="*/ 231 h 356"/>
                      <a:gd name="T68" fmla="*/ 19 w 396"/>
                      <a:gd name="T69" fmla="*/ 223 h 356"/>
                      <a:gd name="T70" fmla="*/ 41 w 396"/>
                      <a:gd name="T71" fmla="*/ 194 h 356"/>
                      <a:gd name="T72" fmla="*/ 37 w 396"/>
                      <a:gd name="T73" fmla="*/ 165 h 356"/>
                      <a:gd name="T74" fmla="*/ 41 w 396"/>
                      <a:gd name="T75" fmla="*/ 146 h 356"/>
                      <a:gd name="T76" fmla="*/ 46 w 396"/>
                      <a:gd name="T77" fmla="*/ 116 h 356"/>
                      <a:gd name="T78" fmla="*/ 56 w 396"/>
                      <a:gd name="T79" fmla="*/ 90 h 356"/>
                      <a:gd name="T80" fmla="*/ 50 w 396"/>
                      <a:gd name="T81" fmla="*/ 77 h 356"/>
                      <a:gd name="T82" fmla="*/ 61 w 396"/>
                      <a:gd name="T83" fmla="*/ 57 h 356"/>
                      <a:gd name="T84" fmla="*/ 70 w 396"/>
                      <a:gd name="T85" fmla="*/ 26 h 356"/>
                      <a:gd name="T86" fmla="*/ 78 w 396"/>
                      <a:gd name="T87" fmla="*/ 24 h 356"/>
                      <a:gd name="T88" fmla="*/ 91 w 396"/>
                      <a:gd name="T89" fmla="*/ 0 h 356"/>
                      <a:gd name="T90" fmla="*/ 120 w 396"/>
                      <a:gd name="T91" fmla="*/ 16 h 356"/>
                      <a:gd name="T92" fmla="*/ 134 w 396"/>
                      <a:gd name="T93" fmla="*/ 15 h 356"/>
                      <a:gd name="T94" fmla="*/ 147 w 396"/>
                      <a:gd name="T95" fmla="*/ 22 h 356"/>
                      <a:gd name="T96" fmla="*/ 168 w 396"/>
                      <a:gd name="T97" fmla="*/ 25 h 356"/>
                      <a:gd name="T98" fmla="*/ 170 w 396"/>
                      <a:gd name="T99" fmla="*/ 60 h 356"/>
                      <a:gd name="T100" fmla="*/ 205 w 396"/>
                      <a:gd name="T101" fmla="*/ 85 h 356"/>
                      <a:gd name="T102" fmla="*/ 215 w 396"/>
                      <a:gd name="T103" fmla="*/ 97 h 356"/>
                      <a:gd name="T104" fmla="*/ 251 w 396"/>
                      <a:gd name="T105" fmla="*/ 106 h 356"/>
                      <a:gd name="T106" fmla="*/ 278 w 396"/>
                      <a:gd name="T107" fmla="*/ 99 h 356"/>
                      <a:gd name="T108" fmla="*/ 282 w 396"/>
                      <a:gd name="T109" fmla="*/ 86 h 356"/>
                      <a:gd name="T110" fmla="*/ 301 w 396"/>
                      <a:gd name="T111" fmla="*/ 84 h 356"/>
                      <a:gd name="T112" fmla="*/ 317 w 396"/>
                      <a:gd name="T113" fmla="*/ 78 h 356"/>
                      <a:gd name="T114" fmla="*/ 327 w 396"/>
                      <a:gd name="T115" fmla="*/ 63 h 356"/>
                      <a:gd name="T116" fmla="*/ 338 w 396"/>
                      <a:gd name="T117" fmla="*/ 53 h 356"/>
                      <a:gd name="T118" fmla="*/ 354 w 396"/>
                      <a:gd name="T119" fmla="*/ 60 h 356"/>
                      <a:gd name="T120" fmla="*/ 379 w 396"/>
                      <a:gd name="T121" fmla="*/ 55 h 356"/>
                      <a:gd name="T122" fmla="*/ 396 w 396"/>
                      <a:gd name="T123" fmla="*/ 52 h 3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396" h="356">
                        <a:moveTo>
                          <a:pt x="396" y="52"/>
                        </a:moveTo>
                        <a:cubicBezTo>
                          <a:pt x="396" y="53"/>
                          <a:pt x="396" y="54"/>
                          <a:pt x="395" y="55"/>
                        </a:cubicBezTo>
                        <a:cubicBezTo>
                          <a:pt x="394" y="57"/>
                          <a:pt x="392" y="58"/>
                          <a:pt x="390" y="59"/>
                        </a:cubicBezTo>
                        <a:cubicBezTo>
                          <a:pt x="389" y="60"/>
                          <a:pt x="387" y="62"/>
                          <a:pt x="386" y="63"/>
                        </a:cubicBezTo>
                        <a:cubicBezTo>
                          <a:pt x="385" y="64"/>
                          <a:pt x="385" y="66"/>
                          <a:pt x="384" y="67"/>
                        </a:cubicBezTo>
                        <a:cubicBezTo>
                          <a:pt x="383" y="68"/>
                          <a:pt x="382" y="68"/>
                          <a:pt x="381" y="69"/>
                        </a:cubicBezTo>
                        <a:cubicBezTo>
                          <a:pt x="380" y="71"/>
                          <a:pt x="379" y="73"/>
                          <a:pt x="378" y="75"/>
                        </a:cubicBezTo>
                        <a:cubicBezTo>
                          <a:pt x="377" y="75"/>
                          <a:pt x="376" y="75"/>
                          <a:pt x="376" y="76"/>
                        </a:cubicBezTo>
                        <a:cubicBezTo>
                          <a:pt x="374" y="76"/>
                          <a:pt x="372" y="79"/>
                          <a:pt x="370" y="80"/>
                        </a:cubicBezTo>
                        <a:cubicBezTo>
                          <a:pt x="368" y="81"/>
                          <a:pt x="367" y="81"/>
                          <a:pt x="366" y="82"/>
                        </a:cubicBezTo>
                        <a:cubicBezTo>
                          <a:pt x="366" y="83"/>
                          <a:pt x="367" y="87"/>
                          <a:pt x="364" y="88"/>
                        </a:cubicBezTo>
                        <a:cubicBezTo>
                          <a:pt x="362" y="88"/>
                          <a:pt x="362" y="90"/>
                          <a:pt x="360" y="91"/>
                        </a:cubicBezTo>
                        <a:cubicBezTo>
                          <a:pt x="358" y="93"/>
                          <a:pt x="356" y="94"/>
                          <a:pt x="353" y="95"/>
                        </a:cubicBezTo>
                        <a:cubicBezTo>
                          <a:pt x="352" y="95"/>
                          <a:pt x="351" y="96"/>
                          <a:pt x="350" y="96"/>
                        </a:cubicBezTo>
                        <a:cubicBezTo>
                          <a:pt x="349" y="97"/>
                          <a:pt x="348" y="98"/>
                          <a:pt x="347" y="99"/>
                        </a:cubicBezTo>
                        <a:cubicBezTo>
                          <a:pt x="342" y="102"/>
                          <a:pt x="338" y="103"/>
                          <a:pt x="334" y="107"/>
                        </a:cubicBezTo>
                        <a:cubicBezTo>
                          <a:pt x="331" y="109"/>
                          <a:pt x="329" y="111"/>
                          <a:pt x="327" y="114"/>
                        </a:cubicBezTo>
                        <a:cubicBezTo>
                          <a:pt x="326" y="115"/>
                          <a:pt x="326" y="117"/>
                          <a:pt x="325" y="118"/>
                        </a:cubicBezTo>
                        <a:cubicBezTo>
                          <a:pt x="325" y="119"/>
                          <a:pt x="323" y="120"/>
                          <a:pt x="322" y="121"/>
                        </a:cubicBezTo>
                        <a:cubicBezTo>
                          <a:pt x="320" y="122"/>
                          <a:pt x="320" y="123"/>
                          <a:pt x="318" y="124"/>
                        </a:cubicBezTo>
                        <a:cubicBezTo>
                          <a:pt x="317" y="125"/>
                          <a:pt x="314" y="126"/>
                          <a:pt x="312" y="126"/>
                        </a:cubicBezTo>
                        <a:cubicBezTo>
                          <a:pt x="309" y="127"/>
                          <a:pt x="306" y="128"/>
                          <a:pt x="303" y="130"/>
                        </a:cubicBezTo>
                        <a:cubicBezTo>
                          <a:pt x="300" y="131"/>
                          <a:pt x="298" y="132"/>
                          <a:pt x="296" y="134"/>
                        </a:cubicBezTo>
                        <a:cubicBezTo>
                          <a:pt x="295" y="136"/>
                          <a:pt x="293" y="137"/>
                          <a:pt x="291" y="138"/>
                        </a:cubicBezTo>
                        <a:cubicBezTo>
                          <a:pt x="289" y="140"/>
                          <a:pt x="287" y="142"/>
                          <a:pt x="284" y="143"/>
                        </a:cubicBezTo>
                        <a:cubicBezTo>
                          <a:pt x="282" y="144"/>
                          <a:pt x="280" y="145"/>
                          <a:pt x="278" y="147"/>
                        </a:cubicBezTo>
                        <a:cubicBezTo>
                          <a:pt x="277" y="148"/>
                          <a:pt x="273" y="159"/>
                          <a:pt x="278" y="158"/>
                        </a:cubicBezTo>
                        <a:cubicBezTo>
                          <a:pt x="279" y="156"/>
                          <a:pt x="278" y="154"/>
                          <a:pt x="278" y="152"/>
                        </a:cubicBezTo>
                        <a:cubicBezTo>
                          <a:pt x="278" y="152"/>
                          <a:pt x="278" y="152"/>
                          <a:pt x="278" y="152"/>
                        </a:cubicBezTo>
                        <a:cubicBezTo>
                          <a:pt x="277" y="151"/>
                          <a:pt x="277" y="150"/>
                          <a:pt x="278" y="150"/>
                        </a:cubicBezTo>
                        <a:cubicBezTo>
                          <a:pt x="279" y="150"/>
                          <a:pt x="281" y="152"/>
                          <a:pt x="281" y="153"/>
                        </a:cubicBezTo>
                        <a:cubicBezTo>
                          <a:pt x="281" y="155"/>
                          <a:pt x="280" y="156"/>
                          <a:pt x="279" y="158"/>
                        </a:cubicBezTo>
                        <a:cubicBezTo>
                          <a:pt x="278" y="159"/>
                          <a:pt x="278" y="162"/>
                          <a:pt x="277" y="163"/>
                        </a:cubicBezTo>
                        <a:cubicBezTo>
                          <a:pt x="277" y="164"/>
                          <a:pt x="278" y="169"/>
                          <a:pt x="277" y="169"/>
                        </a:cubicBezTo>
                        <a:cubicBezTo>
                          <a:pt x="277" y="169"/>
                          <a:pt x="277" y="169"/>
                          <a:pt x="276" y="169"/>
                        </a:cubicBezTo>
                        <a:cubicBezTo>
                          <a:pt x="276" y="168"/>
                          <a:pt x="276" y="167"/>
                          <a:pt x="276" y="166"/>
                        </a:cubicBezTo>
                        <a:cubicBezTo>
                          <a:pt x="275" y="167"/>
                          <a:pt x="276" y="168"/>
                          <a:pt x="275" y="170"/>
                        </a:cubicBezTo>
                        <a:cubicBezTo>
                          <a:pt x="274" y="171"/>
                          <a:pt x="274" y="171"/>
                          <a:pt x="273" y="172"/>
                        </a:cubicBezTo>
                        <a:cubicBezTo>
                          <a:pt x="270" y="173"/>
                          <a:pt x="267" y="173"/>
                          <a:pt x="265" y="175"/>
                        </a:cubicBezTo>
                        <a:cubicBezTo>
                          <a:pt x="262" y="176"/>
                          <a:pt x="261" y="178"/>
                          <a:pt x="258" y="179"/>
                        </a:cubicBezTo>
                        <a:cubicBezTo>
                          <a:pt x="255" y="180"/>
                          <a:pt x="252" y="181"/>
                          <a:pt x="249" y="180"/>
                        </a:cubicBezTo>
                        <a:cubicBezTo>
                          <a:pt x="249" y="179"/>
                          <a:pt x="250" y="177"/>
                          <a:pt x="248" y="176"/>
                        </a:cubicBezTo>
                        <a:cubicBezTo>
                          <a:pt x="248" y="178"/>
                          <a:pt x="248" y="179"/>
                          <a:pt x="248" y="180"/>
                        </a:cubicBezTo>
                        <a:cubicBezTo>
                          <a:pt x="248" y="179"/>
                          <a:pt x="248" y="179"/>
                          <a:pt x="248" y="179"/>
                        </a:cubicBezTo>
                        <a:cubicBezTo>
                          <a:pt x="246" y="179"/>
                          <a:pt x="244" y="177"/>
                          <a:pt x="243" y="177"/>
                        </a:cubicBezTo>
                        <a:cubicBezTo>
                          <a:pt x="241" y="176"/>
                          <a:pt x="239" y="176"/>
                          <a:pt x="237" y="176"/>
                        </a:cubicBezTo>
                        <a:cubicBezTo>
                          <a:pt x="235" y="176"/>
                          <a:pt x="229" y="176"/>
                          <a:pt x="229" y="178"/>
                        </a:cubicBezTo>
                        <a:cubicBezTo>
                          <a:pt x="231" y="179"/>
                          <a:pt x="231" y="177"/>
                          <a:pt x="233" y="177"/>
                        </a:cubicBezTo>
                        <a:cubicBezTo>
                          <a:pt x="235" y="176"/>
                          <a:pt x="238" y="176"/>
                          <a:pt x="238" y="178"/>
                        </a:cubicBezTo>
                        <a:cubicBezTo>
                          <a:pt x="236" y="179"/>
                          <a:pt x="233" y="179"/>
                          <a:pt x="231" y="179"/>
                        </a:cubicBezTo>
                        <a:cubicBezTo>
                          <a:pt x="228" y="180"/>
                          <a:pt x="227" y="180"/>
                          <a:pt x="227" y="183"/>
                        </a:cubicBezTo>
                        <a:cubicBezTo>
                          <a:pt x="226" y="186"/>
                          <a:pt x="227" y="186"/>
                          <a:pt x="225" y="187"/>
                        </a:cubicBezTo>
                        <a:cubicBezTo>
                          <a:pt x="224" y="188"/>
                          <a:pt x="223" y="189"/>
                          <a:pt x="222" y="190"/>
                        </a:cubicBezTo>
                        <a:cubicBezTo>
                          <a:pt x="221" y="191"/>
                          <a:pt x="222" y="192"/>
                          <a:pt x="221" y="194"/>
                        </a:cubicBezTo>
                        <a:cubicBezTo>
                          <a:pt x="220" y="197"/>
                          <a:pt x="217" y="197"/>
                          <a:pt x="215" y="200"/>
                        </a:cubicBezTo>
                        <a:cubicBezTo>
                          <a:pt x="213" y="201"/>
                          <a:pt x="213" y="204"/>
                          <a:pt x="215" y="204"/>
                        </a:cubicBezTo>
                        <a:cubicBezTo>
                          <a:pt x="214" y="204"/>
                          <a:pt x="213" y="204"/>
                          <a:pt x="212" y="203"/>
                        </a:cubicBezTo>
                        <a:cubicBezTo>
                          <a:pt x="213" y="204"/>
                          <a:pt x="212" y="205"/>
                          <a:pt x="212" y="205"/>
                        </a:cubicBezTo>
                        <a:cubicBezTo>
                          <a:pt x="212" y="205"/>
                          <a:pt x="212" y="205"/>
                          <a:pt x="211" y="205"/>
                        </a:cubicBezTo>
                        <a:cubicBezTo>
                          <a:pt x="211" y="204"/>
                          <a:pt x="211" y="204"/>
                          <a:pt x="211" y="204"/>
                        </a:cubicBezTo>
                        <a:cubicBezTo>
                          <a:pt x="209" y="205"/>
                          <a:pt x="209" y="202"/>
                          <a:pt x="209" y="201"/>
                        </a:cubicBezTo>
                        <a:cubicBezTo>
                          <a:pt x="208" y="203"/>
                          <a:pt x="209" y="207"/>
                          <a:pt x="206" y="207"/>
                        </a:cubicBezTo>
                        <a:cubicBezTo>
                          <a:pt x="206" y="206"/>
                          <a:pt x="207" y="205"/>
                          <a:pt x="207" y="203"/>
                        </a:cubicBezTo>
                        <a:cubicBezTo>
                          <a:pt x="205" y="204"/>
                          <a:pt x="205" y="205"/>
                          <a:pt x="205" y="206"/>
                        </a:cubicBezTo>
                        <a:cubicBezTo>
                          <a:pt x="203" y="207"/>
                          <a:pt x="204" y="204"/>
                          <a:pt x="204" y="203"/>
                        </a:cubicBezTo>
                        <a:cubicBezTo>
                          <a:pt x="203" y="201"/>
                          <a:pt x="203" y="200"/>
                          <a:pt x="203" y="198"/>
                        </a:cubicBezTo>
                        <a:cubicBezTo>
                          <a:pt x="199" y="198"/>
                          <a:pt x="196" y="197"/>
                          <a:pt x="193" y="199"/>
                        </a:cubicBezTo>
                        <a:cubicBezTo>
                          <a:pt x="193" y="200"/>
                          <a:pt x="193" y="200"/>
                          <a:pt x="193" y="200"/>
                        </a:cubicBezTo>
                        <a:cubicBezTo>
                          <a:pt x="191" y="200"/>
                          <a:pt x="191" y="201"/>
                          <a:pt x="189" y="202"/>
                        </a:cubicBezTo>
                        <a:cubicBezTo>
                          <a:pt x="188" y="202"/>
                          <a:pt x="187" y="201"/>
                          <a:pt x="185" y="202"/>
                        </a:cubicBezTo>
                        <a:cubicBezTo>
                          <a:pt x="183" y="202"/>
                          <a:pt x="182" y="205"/>
                          <a:pt x="181" y="206"/>
                        </a:cubicBezTo>
                        <a:cubicBezTo>
                          <a:pt x="179" y="209"/>
                          <a:pt x="179" y="212"/>
                          <a:pt x="176" y="215"/>
                        </a:cubicBezTo>
                        <a:cubicBezTo>
                          <a:pt x="173" y="217"/>
                          <a:pt x="172" y="222"/>
                          <a:pt x="171" y="226"/>
                        </a:cubicBezTo>
                        <a:cubicBezTo>
                          <a:pt x="170" y="227"/>
                          <a:pt x="170" y="227"/>
                          <a:pt x="169" y="229"/>
                        </a:cubicBezTo>
                        <a:cubicBezTo>
                          <a:pt x="168" y="232"/>
                          <a:pt x="167" y="236"/>
                          <a:pt x="168" y="239"/>
                        </a:cubicBezTo>
                        <a:cubicBezTo>
                          <a:pt x="168" y="242"/>
                          <a:pt x="169" y="246"/>
                          <a:pt x="170" y="249"/>
                        </a:cubicBezTo>
                        <a:cubicBezTo>
                          <a:pt x="171" y="252"/>
                          <a:pt x="172" y="255"/>
                          <a:pt x="173" y="258"/>
                        </a:cubicBezTo>
                        <a:cubicBezTo>
                          <a:pt x="173" y="259"/>
                          <a:pt x="173" y="260"/>
                          <a:pt x="173" y="261"/>
                        </a:cubicBezTo>
                        <a:cubicBezTo>
                          <a:pt x="173" y="264"/>
                          <a:pt x="173" y="267"/>
                          <a:pt x="172" y="269"/>
                        </a:cubicBezTo>
                        <a:cubicBezTo>
                          <a:pt x="172" y="271"/>
                          <a:pt x="171" y="271"/>
                          <a:pt x="170" y="272"/>
                        </a:cubicBezTo>
                        <a:cubicBezTo>
                          <a:pt x="169" y="273"/>
                          <a:pt x="169" y="274"/>
                          <a:pt x="169" y="275"/>
                        </a:cubicBezTo>
                        <a:cubicBezTo>
                          <a:pt x="167" y="275"/>
                          <a:pt x="165" y="275"/>
                          <a:pt x="166" y="277"/>
                        </a:cubicBezTo>
                        <a:cubicBezTo>
                          <a:pt x="166" y="276"/>
                          <a:pt x="167" y="276"/>
                          <a:pt x="169" y="276"/>
                        </a:cubicBezTo>
                        <a:cubicBezTo>
                          <a:pt x="169" y="279"/>
                          <a:pt x="170" y="280"/>
                          <a:pt x="170" y="283"/>
                        </a:cubicBezTo>
                        <a:cubicBezTo>
                          <a:pt x="170" y="285"/>
                          <a:pt x="171" y="288"/>
                          <a:pt x="171" y="290"/>
                        </a:cubicBezTo>
                        <a:cubicBezTo>
                          <a:pt x="172" y="293"/>
                          <a:pt x="171" y="295"/>
                          <a:pt x="172" y="297"/>
                        </a:cubicBezTo>
                        <a:cubicBezTo>
                          <a:pt x="172" y="301"/>
                          <a:pt x="173" y="304"/>
                          <a:pt x="173" y="307"/>
                        </a:cubicBezTo>
                        <a:cubicBezTo>
                          <a:pt x="174" y="309"/>
                          <a:pt x="173" y="311"/>
                          <a:pt x="173" y="313"/>
                        </a:cubicBezTo>
                        <a:cubicBezTo>
                          <a:pt x="173" y="313"/>
                          <a:pt x="175" y="314"/>
                          <a:pt x="174" y="315"/>
                        </a:cubicBezTo>
                        <a:cubicBezTo>
                          <a:pt x="174" y="315"/>
                          <a:pt x="174" y="315"/>
                          <a:pt x="174" y="315"/>
                        </a:cubicBezTo>
                        <a:cubicBezTo>
                          <a:pt x="173" y="315"/>
                          <a:pt x="173" y="315"/>
                          <a:pt x="172" y="314"/>
                        </a:cubicBezTo>
                        <a:cubicBezTo>
                          <a:pt x="172" y="314"/>
                          <a:pt x="172" y="314"/>
                          <a:pt x="172" y="313"/>
                        </a:cubicBezTo>
                        <a:cubicBezTo>
                          <a:pt x="171" y="312"/>
                          <a:pt x="172" y="311"/>
                          <a:pt x="171" y="310"/>
                        </a:cubicBezTo>
                        <a:cubicBezTo>
                          <a:pt x="171" y="309"/>
                          <a:pt x="170" y="309"/>
                          <a:pt x="170" y="307"/>
                        </a:cubicBezTo>
                        <a:cubicBezTo>
                          <a:pt x="170" y="303"/>
                          <a:pt x="167" y="300"/>
                          <a:pt x="167" y="296"/>
                        </a:cubicBezTo>
                        <a:cubicBezTo>
                          <a:pt x="165" y="296"/>
                          <a:pt x="165" y="296"/>
                          <a:pt x="165" y="296"/>
                        </a:cubicBezTo>
                        <a:cubicBezTo>
                          <a:pt x="165" y="298"/>
                          <a:pt x="165" y="301"/>
                          <a:pt x="165" y="303"/>
                        </a:cubicBezTo>
                        <a:cubicBezTo>
                          <a:pt x="165" y="304"/>
                          <a:pt x="169" y="309"/>
                          <a:pt x="166" y="309"/>
                        </a:cubicBezTo>
                        <a:cubicBezTo>
                          <a:pt x="166" y="310"/>
                          <a:pt x="167" y="311"/>
                          <a:pt x="168" y="313"/>
                        </a:cubicBezTo>
                        <a:cubicBezTo>
                          <a:pt x="168" y="312"/>
                          <a:pt x="168" y="312"/>
                          <a:pt x="168" y="312"/>
                        </a:cubicBezTo>
                        <a:cubicBezTo>
                          <a:pt x="167" y="312"/>
                          <a:pt x="167" y="312"/>
                          <a:pt x="166" y="312"/>
                        </a:cubicBezTo>
                        <a:cubicBezTo>
                          <a:pt x="165" y="313"/>
                          <a:pt x="165" y="314"/>
                          <a:pt x="163" y="314"/>
                        </a:cubicBezTo>
                        <a:cubicBezTo>
                          <a:pt x="163" y="313"/>
                          <a:pt x="163" y="312"/>
                          <a:pt x="163" y="312"/>
                        </a:cubicBezTo>
                        <a:cubicBezTo>
                          <a:pt x="162" y="311"/>
                          <a:pt x="162" y="311"/>
                          <a:pt x="162" y="311"/>
                        </a:cubicBezTo>
                        <a:cubicBezTo>
                          <a:pt x="161" y="311"/>
                          <a:pt x="160" y="310"/>
                          <a:pt x="159" y="311"/>
                        </a:cubicBezTo>
                        <a:cubicBezTo>
                          <a:pt x="159" y="312"/>
                          <a:pt x="159" y="314"/>
                          <a:pt x="159" y="315"/>
                        </a:cubicBezTo>
                        <a:cubicBezTo>
                          <a:pt x="155" y="315"/>
                          <a:pt x="156" y="319"/>
                          <a:pt x="153" y="321"/>
                        </a:cubicBezTo>
                        <a:cubicBezTo>
                          <a:pt x="152" y="322"/>
                          <a:pt x="154" y="323"/>
                          <a:pt x="154" y="324"/>
                        </a:cubicBezTo>
                        <a:cubicBezTo>
                          <a:pt x="150" y="324"/>
                          <a:pt x="147" y="323"/>
                          <a:pt x="147" y="328"/>
                        </a:cubicBezTo>
                        <a:cubicBezTo>
                          <a:pt x="146" y="328"/>
                          <a:pt x="144" y="328"/>
                          <a:pt x="143" y="328"/>
                        </a:cubicBezTo>
                        <a:cubicBezTo>
                          <a:pt x="143" y="325"/>
                          <a:pt x="139" y="321"/>
                          <a:pt x="139" y="325"/>
                        </a:cubicBezTo>
                        <a:cubicBezTo>
                          <a:pt x="138" y="326"/>
                          <a:pt x="137" y="326"/>
                          <a:pt x="136" y="326"/>
                        </a:cubicBezTo>
                        <a:cubicBezTo>
                          <a:pt x="136" y="323"/>
                          <a:pt x="136" y="322"/>
                          <a:pt x="132" y="321"/>
                        </a:cubicBezTo>
                        <a:cubicBezTo>
                          <a:pt x="129" y="321"/>
                          <a:pt x="125" y="322"/>
                          <a:pt x="130" y="324"/>
                        </a:cubicBezTo>
                        <a:cubicBezTo>
                          <a:pt x="127" y="325"/>
                          <a:pt x="130" y="328"/>
                          <a:pt x="127" y="329"/>
                        </a:cubicBezTo>
                        <a:cubicBezTo>
                          <a:pt x="125" y="329"/>
                          <a:pt x="125" y="330"/>
                          <a:pt x="124" y="332"/>
                        </a:cubicBezTo>
                        <a:cubicBezTo>
                          <a:pt x="122" y="335"/>
                          <a:pt x="119" y="328"/>
                          <a:pt x="119" y="334"/>
                        </a:cubicBezTo>
                        <a:cubicBezTo>
                          <a:pt x="118" y="334"/>
                          <a:pt x="117" y="334"/>
                          <a:pt x="117" y="334"/>
                        </a:cubicBezTo>
                        <a:cubicBezTo>
                          <a:pt x="117" y="336"/>
                          <a:pt x="114" y="337"/>
                          <a:pt x="112" y="336"/>
                        </a:cubicBezTo>
                        <a:cubicBezTo>
                          <a:pt x="109" y="336"/>
                          <a:pt x="109" y="333"/>
                          <a:pt x="106" y="332"/>
                        </a:cubicBezTo>
                        <a:cubicBezTo>
                          <a:pt x="101" y="331"/>
                          <a:pt x="94" y="333"/>
                          <a:pt x="89" y="335"/>
                        </a:cubicBezTo>
                        <a:cubicBezTo>
                          <a:pt x="89" y="336"/>
                          <a:pt x="88" y="337"/>
                          <a:pt x="89" y="338"/>
                        </a:cubicBezTo>
                        <a:cubicBezTo>
                          <a:pt x="89" y="338"/>
                          <a:pt x="89" y="338"/>
                          <a:pt x="89" y="338"/>
                        </a:cubicBezTo>
                        <a:cubicBezTo>
                          <a:pt x="89" y="340"/>
                          <a:pt x="89" y="342"/>
                          <a:pt x="89" y="344"/>
                        </a:cubicBezTo>
                        <a:cubicBezTo>
                          <a:pt x="86" y="344"/>
                          <a:pt x="85" y="349"/>
                          <a:pt x="83" y="350"/>
                        </a:cubicBezTo>
                        <a:cubicBezTo>
                          <a:pt x="81" y="352"/>
                          <a:pt x="78" y="356"/>
                          <a:pt x="75" y="354"/>
                        </a:cubicBezTo>
                        <a:cubicBezTo>
                          <a:pt x="73" y="353"/>
                          <a:pt x="70" y="352"/>
                          <a:pt x="69" y="350"/>
                        </a:cubicBezTo>
                        <a:cubicBezTo>
                          <a:pt x="69" y="350"/>
                          <a:pt x="69" y="348"/>
                          <a:pt x="68" y="347"/>
                        </a:cubicBezTo>
                        <a:cubicBezTo>
                          <a:pt x="69" y="346"/>
                          <a:pt x="69" y="344"/>
                          <a:pt x="71" y="343"/>
                        </a:cubicBezTo>
                        <a:cubicBezTo>
                          <a:pt x="72" y="342"/>
                          <a:pt x="75" y="342"/>
                          <a:pt x="75" y="341"/>
                        </a:cubicBezTo>
                        <a:cubicBezTo>
                          <a:pt x="73" y="341"/>
                          <a:pt x="70" y="338"/>
                          <a:pt x="73" y="337"/>
                        </a:cubicBezTo>
                        <a:cubicBezTo>
                          <a:pt x="76" y="337"/>
                          <a:pt x="77" y="342"/>
                          <a:pt x="79" y="342"/>
                        </a:cubicBezTo>
                        <a:cubicBezTo>
                          <a:pt x="82" y="342"/>
                          <a:pt x="79" y="336"/>
                          <a:pt x="80" y="335"/>
                        </a:cubicBezTo>
                        <a:cubicBezTo>
                          <a:pt x="80" y="332"/>
                          <a:pt x="82" y="332"/>
                          <a:pt x="84" y="332"/>
                        </a:cubicBezTo>
                        <a:cubicBezTo>
                          <a:pt x="84" y="331"/>
                          <a:pt x="84" y="329"/>
                          <a:pt x="85" y="329"/>
                        </a:cubicBezTo>
                        <a:cubicBezTo>
                          <a:pt x="86" y="327"/>
                          <a:pt x="87" y="321"/>
                          <a:pt x="86" y="321"/>
                        </a:cubicBezTo>
                        <a:cubicBezTo>
                          <a:pt x="83" y="319"/>
                          <a:pt x="80" y="320"/>
                          <a:pt x="77" y="320"/>
                        </a:cubicBezTo>
                        <a:cubicBezTo>
                          <a:pt x="77" y="319"/>
                          <a:pt x="77" y="318"/>
                          <a:pt x="76" y="317"/>
                        </a:cubicBezTo>
                        <a:cubicBezTo>
                          <a:pt x="76" y="316"/>
                          <a:pt x="76" y="314"/>
                          <a:pt x="76" y="313"/>
                        </a:cubicBezTo>
                        <a:cubicBezTo>
                          <a:pt x="76" y="312"/>
                          <a:pt x="78" y="308"/>
                          <a:pt x="76" y="307"/>
                        </a:cubicBezTo>
                        <a:cubicBezTo>
                          <a:pt x="75" y="306"/>
                          <a:pt x="68" y="306"/>
                          <a:pt x="68" y="308"/>
                        </a:cubicBezTo>
                        <a:cubicBezTo>
                          <a:pt x="67" y="308"/>
                          <a:pt x="67" y="308"/>
                          <a:pt x="67" y="308"/>
                        </a:cubicBezTo>
                        <a:cubicBezTo>
                          <a:pt x="67" y="307"/>
                          <a:pt x="68" y="305"/>
                          <a:pt x="67" y="304"/>
                        </a:cubicBezTo>
                        <a:cubicBezTo>
                          <a:pt x="67" y="304"/>
                          <a:pt x="66" y="303"/>
                          <a:pt x="66" y="303"/>
                        </a:cubicBezTo>
                        <a:cubicBezTo>
                          <a:pt x="65" y="303"/>
                          <a:pt x="64" y="304"/>
                          <a:pt x="63" y="303"/>
                        </a:cubicBezTo>
                        <a:cubicBezTo>
                          <a:pt x="61" y="302"/>
                          <a:pt x="63" y="301"/>
                          <a:pt x="64" y="302"/>
                        </a:cubicBezTo>
                        <a:cubicBezTo>
                          <a:pt x="64" y="300"/>
                          <a:pt x="66" y="294"/>
                          <a:pt x="63" y="293"/>
                        </a:cubicBezTo>
                        <a:cubicBezTo>
                          <a:pt x="62" y="292"/>
                          <a:pt x="58" y="292"/>
                          <a:pt x="58" y="294"/>
                        </a:cubicBezTo>
                        <a:cubicBezTo>
                          <a:pt x="58" y="294"/>
                          <a:pt x="57" y="294"/>
                          <a:pt x="57" y="294"/>
                        </a:cubicBezTo>
                        <a:cubicBezTo>
                          <a:pt x="57" y="292"/>
                          <a:pt x="58" y="291"/>
                          <a:pt x="58" y="288"/>
                        </a:cubicBezTo>
                        <a:cubicBezTo>
                          <a:pt x="58" y="288"/>
                          <a:pt x="57" y="288"/>
                          <a:pt x="57" y="288"/>
                        </a:cubicBezTo>
                        <a:cubicBezTo>
                          <a:pt x="56" y="289"/>
                          <a:pt x="57" y="290"/>
                          <a:pt x="56" y="290"/>
                        </a:cubicBezTo>
                        <a:cubicBezTo>
                          <a:pt x="56" y="290"/>
                          <a:pt x="55" y="290"/>
                          <a:pt x="55" y="290"/>
                        </a:cubicBezTo>
                        <a:cubicBezTo>
                          <a:pt x="55" y="288"/>
                          <a:pt x="51" y="289"/>
                          <a:pt x="49" y="289"/>
                        </a:cubicBezTo>
                        <a:cubicBezTo>
                          <a:pt x="50" y="290"/>
                          <a:pt x="50" y="291"/>
                          <a:pt x="50" y="292"/>
                        </a:cubicBezTo>
                        <a:cubicBezTo>
                          <a:pt x="48" y="292"/>
                          <a:pt x="47" y="293"/>
                          <a:pt x="46" y="295"/>
                        </a:cubicBezTo>
                        <a:cubicBezTo>
                          <a:pt x="45" y="296"/>
                          <a:pt x="43" y="296"/>
                          <a:pt x="42" y="296"/>
                        </a:cubicBezTo>
                        <a:cubicBezTo>
                          <a:pt x="42" y="297"/>
                          <a:pt x="42" y="297"/>
                          <a:pt x="42" y="297"/>
                        </a:cubicBezTo>
                        <a:cubicBezTo>
                          <a:pt x="39" y="297"/>
                          <a:pt x="36" y="296"/>
                          <a:pt x="34" y="296"/>
                        </a:cubicBezTo>
                        <a:cubicBezTo>
                          <a:pt x="34" y="297"/>
                          <a:pt x="34" y="298"/>
                          <a:pt x="33" y="299"/>
                        </a:cubicBezTo>
                        <a:cubicBezTo>
                          <a:pt x="33" y="297"/>
                          <a:pt x="33" y="297"/>
                          <a:pt x="33" y="297"/>
                        </a:cubicBezTo>
                        <a:cubicBezTo>
                          <a:pt x="29" y="297"/>
                          <a:pt x="30" y="294"/>
                          <a:pt x="30" y="292"/>
                        </a:cubicBezTo>
                        <a:cubicBezTo>
                          <a:pt x="28" y="292"/>
                          <a:pt x="23" y="292"/>
                          <a:pt x="21" y="290"/>
                        </a:cubicBezTo>
                        <a:cubicBezTo>
                          <a:pt x="20" y="289"/>
                          <a:pt x="19" y="287"/>
                          <a:pt x="17" y="288"/>
                        </a:cubicBezTo>
                        <a:cubicBezTo>
                          <a:pt x="16" y="289"/>
                          <a:pt x="17" y="295"/>
                          <a:pt x="16" y="295"/>
                        </a:cubicBezTo>
                        <a:cubicBezTo>
                          <a:pt x="14" y="295"/>
                          <a:pt x="11" y="295"/>
                          <a:pt x="9" y="294"/>
                        </a:cubicBezTo>
                        <a:cubicBezTo>
                          <a:pt x="9" y="293"/>
                          <a:pt x="10" y="291"/>
                          <a:pt x="10" y="289"/>
                        </a:cubicBezTo>
                        <a:cubicBezTo>
                          <a:pt x="14" y="289"/>
                          <a:pt x="14" y="286"/>
                          <a:pt x="12" y="284"/>
                        </a:cubicBezTo>
                        <a:cubicBezTo>
                          <a:pt x="11" y="283"/>
                          <a:pt x="10" y="283"/>
                          <a:pt x="9" y="282"/>
                        </a:cubicBezTo>
                        <a:cubicBezTo>
                          <a:pt x="8" y="281"/>
                          <a:pt x="9" y="280"/>
                          <a:pt x="9" y="278"/>
                        </a:cubicBezTo>
                        <a:cubicBezTo>
                          <a:pt x="8" y="278"/>
                          <a:pt x="6" y="277"/>
                          <a:pt x="5" y="277"/>
                        </a:cubicBezTo>
                        <a:cubicBezTo>
                          <a:pt x="5" y="276"/>
                          <a:pt x="5" y="275"/>
                          <a:pt x="5" y="274"/>
                        </a:cubicBezTo>
                        <a:cubicBezTo>
                          <a:pt x="9" y="275"/>
                          <a:pt x="12" y="277"/>
                          <a:pt x="13" y="280"/>
                        </a:cubicBezTo>
                        <a:cubicBezTo>
                          <a:pt x="14" y="283"/>
                          <a:pt x="17" y="281"/>
                          <a:pt x="18" y="285"/>
                        </a:cubicBezTo>
                        <a:cubicBezTo>
                          <a:pt x="19" y="286"/>
                          <a:pt x="19" y="285"/>
                          <a:pt x="20" y="284"/>
                        </a:cubicBezTo>
                        <a:cubicBezTo>
                          <a:pt x="23" y="283"/>
                          <a:pt x="26" y="285"/>
                          <a:pt x="28" y="288"/>
                        </a:cubicBezTo>
                        <a:cubicBezTo>
                          <a:pt x="30" y="292"/>
                          <a:pt x="35" y="287"/>
                          <a:pt x="30" y="285"/>
                        </a:cubicBezTo>
                        <a:cubicBezTo>
                          <a:pt x="28" y="284"/>
                          <a:pt x="27" y="280"/>
                          <a:pt x="29" y="278"/>
                        </a:cubicBezTo>
                        <a:cubicBezTo>
                          <a:pt x="31" y="277"/>
                          <a:pt x="36" y="279"/>
                          <a:pt x="36" y="276"/>
                        </a:cubicBezTo>
                        <a:cubicBezTo>
                          <a:pt x="34" y="276"/>
                          <a:pt x="33" y="274"/>
                          <a:pt x="33" y="273"/>
                        </a:cubicBezTo>
                        <a:cubicBezTo>
                          <a:pt x="32" y="272"/>
                          <a:pt x="32" y="272"/>
                          <a:pt x="32" y="271"/>
                        </a:cubicBezTo>
                        <a:cubicBezTo>
                          <a:pt x="32" y="269"/>
                          <a:pt x="31" y="270"/>
                          <a:pt x="30" y="269"/>
                        </a:cubicBezTo>
                        <a:cubicBezTo>
                          <a:pt x="30" y="270"/>
                          <a:pt x="31" y="274"/>
                          <a:pt x="30" y="274"/>
                        </a:cubicBezTo>
                        <a:cubicBezTo>
                          <a:pt x="30" y="275"/>
                          <a:pt x="27" y="272"/>
                          <a:pt x="26" y="272"/>
                        </a:cubicBezTo>
                        <a:cubicBezTo>
                          <a:pt x="26" y="271"/>
                          <a:pt x="26" y="270"/>
                          <a:pt x="26" y="268"/>
                        </a:cubicBezTo>
                        <a:cubicBezTo>
                          <a:pt x="25" y="268"/>
                          <a:pt x="25" y="268"/>
                          <a:pt x="25" y="268"/>
                        </a:cubicBezTo>
                        <a:cubicBezTo>
                          <a:pt x="25" y="270"/>
                          <a:pt x="22" y="269"/>
                          <a:pt x="20" y="269"/>
                        </a:cubicBezTo>
                        <a:cubicBezTo>
                          <a:pt x="17" y="269"/>
                          <a:pt x="17" y="271"/>
                          <a:pt x="17" y="273"/>
                        </a:cubicBezTo>
                        <a:cubicBezTo>
                          <a:pt x="16" y="273"/>
                          <a:pt x="15" y="273"/>
                          <a:pt x="14" y="273"/>
                        </a:cubicBezTo>
                        <a:cubicBezTo>
                          <a:pt x="13" y="272"/>
                          <a:pt x="11" y="273"/>
                          <a:pt x="9" y="273"/>
                        </a:cubicBezTo>
                        <a:cubicBezTo>
                          <a:pt x="7" y="272"/>
                          <a:pt x="8" y="269"/>
                          <a:pt x="8" y="268"/>
                        </a:cubicBezTo>
                        <a:cubicBezTo>
                          <a:pt x="6" y="268"/>
                          <a:pt x="6" y="267"/>
                          <a:pt x="6" y="265"/>
                        </a:cubicBezTo>
                        <a:cubicBezTo>
                          <a:pt x="6" y="265"/>
                          <a:pt x="6" y="265"/>
                          <a:pt x="6" y="265"/>
                        </a:cubicBezTo>
                        <a:cubicBezTo>
                          <a:pt x="7" y="265"/>
                          <a:pt x="7" y="265"/>
                          <a:pt x="7" y="264"/>
                        </a:cubicBezTo>
                        <a:cubicBezTo>
                          <a:pt x="7" y="263"/>
                          <a:pt x="8" y="263"/>
                          <a:pt x="10" y="263"/>
                        </a:cubicBezTo>
                        <a:cubicBezTo>
                          <a:pt x="10" y="261"/>
                          <a:pt x="9" y="261"/>
                          <a:pt x="7" y="261"/>
                        </a:cubicBezTo>
                        <a:cubicBezTo>
                          <a:pt x="5" y="262"/>
                          <a:pt x="5" y="260"/>
                          <a:pt x="3" y="259"/>
                        </a:cubicBezTo>
                        <a:cubicBezTo>
                          <a:pt x="3" y="258"/>
                          <a:pt x="2" y="258"/>
                          <a:pt x="1" y="257"/>
                        </a:cubicBezTo>
                        <a:cubicBezTo>
                          <a:pt x="0" y="256"/>
                          <a:pt x="0" y="254"/>
                          <a:pt x="0" y="252"/>
                        </a:cubicBezTo>
                        <a:cubicBezTo>
                          <a:pt x="1" y="252"/>
                          <a:pt x="2" y="247"/>
                          <a:pt x="2" y="247"/>
                        </a:cubicBezTo>
                        <a:cubicBezTo>
                          <a:pt x="2" y="247"/>
                          <a:pt x="3" y="246"/>
                          <a:pt x="3" y="247"/>
                        </a:cubicBezTo>
                        <a:cubicBezTo>
                          <a:pt x="4" y="243"/>
                          <a:pt x="4" y="240"/>
                          <a:pt x="5" y="237"/>
                        </a:cubicBezTo>
                        <a:cubicBezTo>
                          <a:pt x="1" y="237"/>
                          <a:pt x="1" y="236"/>
                          <a:pt x="1" y="233"/>
                        </a:cubicBezTo>
                        <a:cubicBezTo>
                          <a:pt x="2" y="233"/>
                          <a:pt x="2" y="232"/>
                          <a:pt x="3" y="231"/>
                        </a:cubicBezTo>
                        <a:cubicBezTo>
                          <a:pt x="4" y="232"/>
                          <a:pt x="5" y="235"/>
                          <a:pt x="8" y="235"/>
                        </a:cubicBezTo>
                        <a:cubicBezTo>
                          <a:pt x="10" y="235"/>
                          <a:pt x="12" y="234"/>
                          <a:pt x="14" y="235"/>
                        </a:cubicBezTo>
                        <a:cubicBezTo>
                          <a:pt x="16" y="235"/>
                          <a:pt x="17" y="237"/>
                          <a:pt x="18" y="234"/>
                        </a:cubicBezTo>
                        <a:cubicBezTo>
                          <a:pt x="20" y="232"/>
                          <a:pt x="23" y="232"/>
                          <a:pt x="21" y="229"/>
                        </a:cubicBezTo>
                        <a:cubicBezTo>
                          <a:pt x="21" y="229"/>
                          <a:pt x="20" y="228"/>
                          <a:pt x="20" y="228"/>
                        </a:cubicBezTo>
                        <a:cubicBezTo>
                          <a:pt x="19" y="227"/>
                          <a:pt x="19" y="224"/>
                          <a:pt x="19" y="223"/>
                        </a:cubicBezTo>
                        <a:cubicBezTo>
                          <a:pt x="19" y="220"/>
                          <a:pt x="16" y="218"/>
                          <a:pt x="14" y="216"/>
                        </a:cubicBezTo>
                        <a:cubicBezTo>
                          <a:pt x="12" y="214"/>
                          <a:pt x="16" y="213"/>
                          <a:pt x="16" y="211"/>
                        </a:cubicBezTo>
                        <a:cubicBezTo>
                          <a:pt x="16" y="208"/>
                          <a:pt x="16" y="206"/>
                          <a:pt x="20" y="206"/>
                        </a:cubicBezTo>
                        <a:cubicBezTo>
                          <a:pt x="20" y="205"/>
                          <a:pt x="20" y="204"/>
                          <a:pt x="20" y="203"/>
                        </a:cubicBezTo>
                        <a:cubicBezTo>
                          <a:pt x="17" y="203"/>
                          <a:pt x="17" y="200"/>
                          <a:pt x="18" y="197"/>
                        </a:cubicBezTo>
                        <a:cubicBezTo>
                          <a:pt x="21" y="188"/>
                          <a:pt x="34" y="194"/>
                          <a:pt x="41" y="194"/>
                        </a:cubicBezTo>
                        <a:cubicBezTo>
                          <a:pt x="41" y="189"/>
                          <a:pt x="39" y="180"/>
                          <a:pt x="43" y="176"/>
                        </a:cubicBezTo>
                        <a:cubicBezTo>
                          <a:pt x="45" y="176"/>
                          <a:pt x="47" y="176"/>
                          <a:pt x="47" y="173"/>
                        </a:cubicBezTo>
                        <a:cubicBezTo>
                          <a:pt x="47" y="173"/>
                          <a:pt x="46" y="173"/>
                          <a:pt x="45" y="173"/>
                        </a:cubicBezTo>
                        <a:cubicBezTo>
                          <a:pt x="44" y="171"/>
                          <a:pt x="40" y="171"/>
                          <a:pt x="39" y="171"/>
                        </a:cubicBezTo>
                        <a:cubicBezTo>
                          <a:pt x="35" y="171"/>
                          <a:pt x="32" y="169"/>
                          <a:pt x="29" y="168"/>
                        </a:cubicBezTo>
                        <a:cubicBezTo>
                          <a:pt x="28" y="164"/>
                          <a:pt x="34" y="166"/>
                          <a:pt x="37" y="165"/>
                        </a:cubicBezTo>
                        <a:cubicBezTo>
                          <a:pt x="37" y="164"/>
                          <a:pt x="39" y="162"/>
                          <a:pt x="40" y="162"/>
                        </a:cubicBezTo>
                        <a:cubicBezTo>
                          <a:pt x="40" y="161"/>
                          <a:pt x="40" y="160"/>
                          <a:pt x="41" y="160"/>
                        </a:cubicBezTo>
                        <a:cubicBezTo>
                          <a:pt x="41" y="158"/>
                          <a:pt x="41" y="158"/>
                          <a:pt x="39" y="158"/>
                        </a:cubicBezTo>
                        <a:cubicBezTo>
                          <a:pt x="40" y="156"/>
                          <a:pt x="39" y="154"/>
                          <a:pt x="39" y="152"/>
                        </a:cubicBezTo>
                        <a:cubicBezTo>
                          <a:pt x="40" y="152"/>
                          <a:pt x="41" y="152"/>
                          <a:pt x="42" y="152"/>
                        </a:cubicBezTo>
                        <a:cubicBezTo>
                          <a:pt x="42" y="150"/>
                          <a:pt x="39" y="148"/>
                          <a:pt x="41" y="146"/>
                        </a:cubicBezTo>
                        <a:cubicBezTo>
                          <a:pt x="43" y="143"/>
                          <a:pt x="43" y="141"/>
                          <a:pt x="43" y="138"/>
                        </a:cubicBezTo>
                        <a:cubicBezTo>
                          <a:pt x="44" y="134"/>
                          <a:pt x="42" y="135"/>
                          <a:pt x="40" y="134"/>
                        </a:cubicBezTo>
                        <a:cubicBezTo>
                          <a:pt x="37" y="132"/>
                          <a:pt x="40" y="129"/>
                          <a:pt x="42" y="130"/>
                        </a:cubicBezTo>
                        <a:cubicBezTo>
                          <a:pt x="43" y="124"/>
                          <a:pt x="51" y="119"/>
                          <a:pt x="56" y="119"/>
                        </a:cubicBezTo>
                        <a:cubicBezTo>
                          <a:pt x="57" y="116"/>
                          <a:pt x="52" y="116"/>
                          <a:pt x="51" y="116"/>
                        </a:cubicBezTo>
                        <a:cubicBezTo>
                          <a:pt x="49" y="116"/>
                          <a:pt x="48" y="116"/>
                          <a:pt x="46" y="116"/>
                        </a:cubicBezTo>
                        <a:cubicBezTo>
                          <a:pt x="44" y="115"/>
                          <a:pt x="44" y="114"/>
                          <a:pt x="42" y="114"/>
                        </a:cubicBezTo>
                        <a:cubicBezTo>
                          <a:pt x="41" y="111"/>
                          <a:pt x="43" y="111"/>
                          <a:pt x="45" y="111"/>
                        </a:cubicBezTo>
                        <a:cubicBezTo>
                          <a:pt x="46" y="108"/>
                          <a:pt x="46" y="108"/>
                          <a:pt x="49" y="107"/>
                        </a:cubicBezTo>
                        <a:cubicBezTo>
                          <a:pt x="49" y="106"/>
                          <a:pt x="49" y="105"/>
                          <a:pt x="49" y="104"/>
                        </a:cubicBezTo>
                        <a:cubicBezTo>
                          <a:pt x="51" y="104"/>
                          <a:pt x="55" y="100"/>
                          <a:pt x="55" y="99"/>
                        </a:cubicBezTo>
                        <a:cubicBezTo>
                          <a:pt x="56" y="96"/>
                          <a:pt x="52" y="90"/>
                          <a:pt x="56" y="90"/>
                        </a:cubicBezTo>
                        <a:cubicBezTo>
                          <a:pt x="56" y="89"/>
                          <a:pt x="56" y="88"/>
                          <a:pt x="56" y="87"/>
                        </a:cubicBezTo>
                        <a:cubicBezTo>
                          <a:pt x="55" y="87"/>
                          <a:pt x="55" y="83"/>
                          <a:pt x="55" y="82"/>
                        </a:cubicBezTo>
                        <a:cubicBezTo>
                          <a:pt x="56" y="82"/>
                          <a:pt x="56" y="82"/>
                          <a:pt x="57" y="82"/>
                        </a:cubicBezTo>
                        <a:cubicBezTo>
                          <a:pt x="56" y="79"/>
                          <a:pt x="56" y="79"/>
                          <a:pt x="56" y="79"/>
                        </a:cubicBezTo>
                        <a:cubicBezTo>
                          <a:pt x="56" y="79"/>
                          <a:pt x="51" y="78"/>
                          <a:pt x="49" y="78"/>
                        </a:cubicBezTo>
                        <a:cubicBezTo>
                          <a:pt x="50" y="78"/>
                          <a:pt x="50" y="77"/>
                          <a:pt x="50" y="77"/>
                        </a:cubicBezTo>
                        <a:cubicBezTo>
                          <a:pt x="51" y="75"/>
                          <a:pt x="52" y="73"/>
                          <a:pt x="51" y="71"/>
                        </a:cubicBezTo>
                        <a:cubicBezTo>
                          <a:pt x="51" y="69"/>
                          <a:pt x="50" y="69"/>
                          <a:pt x="50" y="67"/>
                        </a:cubicBezTo>
                        <a:cubicBezTo>
                          <a:pt x="51" y="67"/>
                          <a:pt x="51" y="65"/>
                          <a:pt x="51" y="64"/>
                        </a:cubicBezTo>
                        <a:cubicBezTo>
                          <a:pt x="52" y="65"/>
                          <a:pt x="53" y="64"/>
                          <a:pt x="53" y="62"/>
                        </a:cubicBezTo>
                        <a:cubicBezTo>
                          <a:pt x="55" y="62"/>
                          <a:pt x="57" y="63"/>
                          <a:pt x="59" y="63"/>
                        </a:cubicBezTo>
                        <a:cubicBezTo>
                          <a:pt x="59" y="62"/>
                          <a:pt x="60" y="58"/>
                          <a:pt x="61" y="57"/>
                        </a:cubicBezTo>
                        <a:cubicBezTo>
                          <a:pt x="62" y="54"/>
                          <a:pt x="64" y="52"/>
                          <a:pt x="67" y="51"/>
                        </a:cubicBezTo>
                        <a:cubicBezTo>
                          <a:pt x="68" y="50"/>
                          <a:pt x="69" y="49"/>
                          <a:pt x="69" y="47"/>
                        </a:cubicBezTo>
                        <a:cubicBezTo>
                          <a:pt x="67" y="47"/>
                          <a:pt x="67" y="47"/>
                          <a:pt x="67" y="47"/>
                        </a:cubicBezTo>
                        <a:cubicBezTo>
                          <a:pt x="67" y="44"/>
                          <a:pt x="58" y="39"/>
                          <a:pt x="65" y="37"/>
                        </a:cubicBezTo>
                        <a:cubicBezTo>
                          <a:pt x="68" y="36"/>
                          <a:pt x="66" y="33"/>
                          <a:pt x="67" y="31"/>
                        </a:cubicBezTo>
                        <a:cubicBezTo>
                          <a:pt x="68" y="29"/>
                          <a:pt x="71" y="29"/>
                          <a:pt x="70" y="26"/>
                        </a:cubicBezTo>
                        <a:cubicBezTo>
                          <a:pt x="71" y="26"/>
                          <a:pt x="72" y="26"/>
                          <a:pt x="73" y="26"/>
                        </a:cubicBezTo>
                        <a:cubicBezTo>
                          <a:pt x="73" y="29"/>
                          <a:pt x="77" y="29"/>
                          <a:pt x="75" y="32"/>
                        </a:cubicBezTo>
                        <a:cubicBezTo>
                          <a:pt x="77" y="30"/>
                          <a:pt x="80" y="31"/>
                          <a:pt x="82" y="31"/>
                        </a:cubicBezTo>
                        <a:cubicBezTo>
                          <a:pt x="83" y="30"/>
                          <a:pt x="83" y="30"/>
                          <a:pt x="83" y="30"/>
                        </a:cubicBezTo>
                        <a:cubicBezTo>
                          <a:pt x="82" y="29"/>
                          <a:pt x="82" y="27"/>
                          <a:pt x="80" y="26"/>
                        </a:cubicBezTo>
                        <a:cubicBezTo>
                          <a:pt x="79" y="26"/>
                          <a:pt x="78" y="25"/>
                          <a:pt x="78" y="24"/>
                        </a:cubicBezTo>
                        <a:cubicBezTo>
                          <a:pt x="83" y="24"/>
                          <a:pt x="85" y="24"/>
                          <a:pt x="88" y="21"/>
                        </a:cubicBezTo>
                        <a:cubicBezTo>
                          <a:pt x="90" y="20"/>
                          <a:pt x="90" y="14"/>
                          <a:pt x="90" y="12"/>
                        </a:cubicBezTo>
                        <a:cubicBezTo>
                          <a:pt x="90" y="11"/>
                          <a:pt x="88" y="11"/>
                          <a:pt x="89" y="10"/>
                        </a:cubicBezTo>
                        <a:cubicBezTo>
                          <a:pt x="89" y="9"/>
                          <a:pt x="91" y="9"/>
                          <a:pt x="91" y="8"/>
                        </a:cubicBezTo>
                        <a:cubicBezTo>
                          <a:pt x="94" y="5"/>
                          <a:pt x="89" y="4"/>
                          <a:pt x="89" y="1"/>
                        </a:cubicBezTo>
                        <a:cubicBezTo>
                          <a:pt x="90" y="1"/>
                          <a:pt x="91" y="1"/>
                          <a:pt x="91" y="0"/>
                        </a:cubicBezTo>
                        <a:cubicBezTo>
                          <a:pt x="93" y="1"/>
                          <a:pt x="99" y="4"/>
                          <a:pt x="99" y="6"/>
                        </a:cubicBezTo>
                        <a:cubicBezTo>
                          <a:pt x="102" y="6"/>
                          <a:pt x="105" y="4"/>
                          <a:pt x="108" y="6"/>
                        </a:cubicBezTo>
                        <a:cubicBezTo>
                          <a:pt x="110" y="7"/>
                          <a:pt x="113" y="6"/>
                          <a:pt x="116" y="6"/>
                        </a:cubicBezTo>
                        <a:cubicBezTo>
                          <a:pt x="116" y="9"/>
                          <a:pt x="115" y="11"/>
                          <a:pt x="115" y="13"/>
                        </a:cubicBezTo>
                        <a:cubicBezTo>
                          <a:pt x="118" y="14"/>
                          <a:pt x="120" y="13"/>
                          <a:pt x="122" y="13"/>
                        </a:cubicBezTo>
                        <a:cubicBezTo>
                          <a:pt x="122" y="15"/>
                          <a:pt x="122" y="15"/>
                          <a:pt x="120" y="16"/>
                        </a:cubicBezTo>
                        <a:cubicBezTo>
                          <a:pt x="119" y="17"/>
                          <a:pt x="119" y="19"/>
                          <a:pt x="119" y="20"/>
                        </a:cubicBezTo>
                        <a:cubicBezTo>
                          <a:pt x="122" y="21"/>
                          <a:pt x="125" y="20"/>
                          <a:pt x="127" y="20"/>
                        </a:cubicBezTo>
                        <a:cubicBezTo>
                          <a:pt x="127" y="20"/>
                          <a:pt x="127" y="20"/>
                          <a:pt x="127" y="20"/>
                        </a:cubicBezTo>
                        <a:cubicBezTo>
                          <a:pt x="130" y="19"/>
                          <a:pt x="131" y="23"/>
                          <a:pt x="134" y="22"/>
                        </a:cubicBezTo>
                        <a:cubicBezTo>
                          <a:pt x="133" y="21"/>
                          <a:pt x="132" y="19"/>
                          <a:pt x="134" y="19"/>
                        </a:cubicBezTo>
                        <a:cubicBezTo>
                          <a:pt x="134" y="17"/>
                          <a:pt x="134" y="16"/>
                          <a:pt x="134" y="15"/>
                        </a:cubicBezTo>
                        <a:cubicBezTo>
                          <a:pt x="134" y="15"/>
                          <a:pt x="135" y="15"/>
                          <a:pt x="135" y="15"/>
                        </a:cubicBezTo>
                        <a:cubicBezTo>
                          <a:pt x="136" y="15"/>
                          <a:pt x="136" y="17"/>
                          <a:pt x="136" y="17"/>
                        </a:cubicBezTo>
                        <a:cubicBezTo>
                          <a:pt x="137" y="18"/>
                          <a:pt x="139" y="17"/>
                          <a:pt x="141" y="17"/>
                        </a:cubicBezTo>
                        <a:cubicBezTo>
                          <a:pt x="141" y="18"/>
                          <a:pt x="141" y="19"/>
                          <a:pt x="141" y="19"/>
                        </a:cubicBezTo>
                        <a:cubicBezTo>
                          <a:pt x="141" y="19"/>
                          <a:pt x="142" y="19"/>
                          <a:pt x="143" y="19"/>
                        </a:cubicBezTo>
                        <a:cubicBezTo>
                          <a:pt x="142" y="21"/>
                          <a:pt x="145" y="24"/>
                          <a:pt x="147" y="22"/>
                        </a:cubicBezTo>
                        <a:cubicBezTo>
                          <a:pt x="148" y="21"/>
                          <a:pt x="146" y="20"/>
                          <a:pt x="147" y="19"/>
                        </a:cubicBezTo>
                        <a:cubicBezTo>
                          <a:pt x="149" y="18"/>
                          <a:pt x="149" y="20"/>
                          <a:pt x="149" y="21"/>
                        </a:cubicBezTo>
                        <a:cubicBezTo>
                          <a:pt x="151" y="21"/>
                          <a:pt x="151" y="19"/>
                          <a:pt x="152" y="18"/>
                        </a:cubicBezTo>
                        <a:cubicBezTo>
                          <a:pt x="154" y="18"/>
                          <a:pt x="156" y="19"/>
                          <a:pt x="158" y="19"/>
                        </a:cubicBezTo>
                        <a:cubicBezTo>
                          <a:pt x="159" y="18"/>
                          <a:pt x="160" y="18"/>
                          <a:pt x="160" y="19"/>
                        </a:cubicBezTo>
                        <a:cubicBezTo>
                          <a:pt x="162" y="22"/>
                          <a:pt x="165" y="24"/>
                          <a:pt x="168" y="25"/>
                        </a:cubicBezTo>
                        <a:cubicBezTo>
                          <a:pt x="168" y="26"/>
                          <a:pt x="170" y="27"/>
                          <a:pt x="170" y="28"/>
                        </a:cubicBezTo>
                        <a:cubicBezTo>
                          <a:pt x="170" y="30"/>
                          <a:pt x="169" y="31"/>
                          <a:pt x="168" y="33"/>
                        </a:cubicBezTo>
                        <a:cubicBezTo>
                          <a:pt x="167" y="36"/>
                          <a:pt x="169" y="39"/>
                          <a:pt x="166" y="41"/>
                        </a:cubicBezTo>
                        <a:cubicBezTo>
                          <a:pt x="164" y="43"/>
                          <a:pt x="163" y="46"/>
                          <a:pt x="166" y="47"/>
                        </a:cubicBezTo>
                        <a:cubicBezTo>
                          <a:pt x="168" y="48"/>
                          <a:pt x="169" y="54"/>
                          <a:pt x="169" y="56"/>
                        </a:cubicBezTo>
                        <a:cubicBezTo>
                          <a:pt x="166" y="57"/>
                          <a:pt x="169" y="59"/>
                          <a:pt x="170" y="60"/>
                        </a:cubicBezTo>
                        <a:cubicBezTo>
                          <a:pt x="172" y="62"/>
                          <a:pt x="176" y="63"/>
                          <a:pt x="179" y="64"/>
                        </a:cubicBezTo>
                        <a:cubicBezTo>
                          <a:pt x="180" y="64"/>
                          <a:pt x="182" y="63"/>
                          <a:pt x="183" y="64"/>
                        </a:cubicBezTo>
                        <a:cubicBezTo>
                          <a:pt x="184" y="65"/>
                          <a:pt x="184" y="66"/>
                          <a:pt x="185" y="67"/>
                        </a:cubicBezTo>
                        <a:cubicBezTo>
                          <a:pt x="186" y="68"/>
                          <a:pt x="190" y="69"/>
                          <a:pt x="191" y="68"/>
                        </a:cubicBezTo>
                        <a:cubicBezTo>
                          <a:pt x="194" y="64"/>
                          <a:pt x="201" y="75"/>
                          <a:pt x="202" y="77"/>
                        </a:cubicBezTo>
                        <a:cubicBezTo>
                          <a:pt x="203" y="80"/>
                          <a:pt x="204" y="82"/>
                          <a:pt x="205" y="85"/>
                        </a:cubicBezTo>
                        <a:cubicBezTo>
                          <a:pt x="206" y="87"/>
                          <a:pt x="203" y="88"/>
                          <a:pt x="204" y="91"/>
                        </a:cubicBezTo>
                        <a:cubicBezTo>
                          <a:pt x="206" y="92"/>
                          <a:pt x="208" y="89"/>
                          <a:pt x="211" y="89"/>
                        </a:cubicBezTo>
                        <a:cubicBezTo>
                          <a:pt x="211" y="90"/>
                          <a:pt x="211" y="91"/>
                          <a:pt x="211" y="92"/>
                        </a:cubicBezTo>
                        <a:cubicBezTo>
                          <a:pt x="213" y="93"/>
                          <a:pt x="213" y="91"/>
                          <a:pt x="215" y="91"/>
                        </a:cubicBezTo>
                        <a:cubicBezTo>
                          <a:pt x="215" y="92"/>
                          <a:pt x="215" y="92"/>
                          <a:pt x="215" y="92"/>
                        </a:cubicBezTo>
                        <a:cubicBezTo>
                          <a:pt x="216" y="93"/>
                          <a:pt x="213" y="95"/>
                          <a:pt x="215" y="97"/>
                        </a:cubicBezTo>
                        <a:cubicBezTo>
                          <a:pt x="217" y="99"/>
                          <a:pt x="217" y="102"/>
                          <a:pt x="217" y="105"/>
                        </a:cubicBezTo>
                        <a:cubicBezTo>
                          <a:pt x="216" y="113"/>
                          <a:pt x="220" y="107"/>
                          <a:pt x="225" y="107"/>
                        </a:cubicBezTo>
                        <a:cubicBezTo>
                          <a:pt x="227" y="107"/>
                          <a:pt x="229" y="109"/>
                          <a:pt x="231" y="108"/>
                        </a:cubicBezTo>
                        <a:cubicBezTo>
                          <a:pt x="234" y="108"/>
                          <a:pt x="237" y="107"/>
                          <a:pt x="241" y="108"/>
                        </a:cubicBezTo>
                        <a:cubicBezTo>
                          <a:pt x="243" y="108"/>
                          <a:pt x="244" y="107"/>
                          <a:pt x="247" y="106"/>
                        </a:cubicBezTo>
                        <a:cubicBezTo>
                          <a:pt x="248" y="106"/>
                          <a:pt x="250" y="107"/>
                          <a:pt x="251" y="106"/>
                        </a:cubicBezTo>
                        <a:cubicBezTo>
                          <a:pt x="252" y="106"/>
                          <a:pt x="253" y="106"/>
                          <a:pt x="254" y="105"/>
                        </a:cubicBezTo>
                        <a:cubicBezTo>
                          <a:pt x="255" y="101"/>
                          <a:pt x="257" y="102"/>
                          <a:pt x="260" y="102"/>
                        </a:cubicBezTo>
                        <a:cubicBezTo>
                          <a:pt x="264" y="101"/>
                          <a:pt x="264" y="97"/>
                          <a:pt x="268" y="97"/>
                        </a:cubicBezTo>
                        <a:cubicBezTo>
                          <a:pt x="270" y="98"/>
                          <a:pt x="272" y="97"/>
                          <a:pt x="273" y="99"/>
                        </a:cubicBezTo>
                        <a:cubicBezTo>
                          <a:pt x="273" y="100"/>
                          <a:pt x="273" y="102"/>
                          <a:pt x="275" y="102"/>
                        </a:cubicBezTo>
                        <a:cubicBezTo>
                          <a:pt x="277" y="102"/>
                          <a:pt x="277" y="100"/>
                          <a:pt x="278" y="99"/>
                        </a:cubicBezTo>
                        <a:cubicBezTo>
                          <a:pt x="278" y="97"/>
                          <a:pt x="279" y="98"/>
                          <a:pt x="280" y="98"/>
                        </a:cubicBezTo>
                        <a:cubicBezTo>
                          <a:pt x="281" y="96"/>
                          <a:pt x="280" y="94"/>
                          <a:pt x="282" y="95"/>
                        </a:cubicBezTo>
                        <a:cubicBezTo>
                          <a:pt x="282" y="94"/>
                          <a:pt x="282" y="93"/>
                          <a:pt x="282" y="93"/>
                        </a:cubicBezTo>
                        <a:cubicBezTo>
                          <a:pt x="281" y="93"/>
                          <a:pt x="281" y="92"/>
                          <a:pt x="280" y="92"/>
                        </a:cubicBezTo>
                        <a:cubicBezTo>
                          <a:pt x="280" y="91"/>
                          <a:pt x="279" y="88"/>
                          <a:pt x="281" y="88"/>
                        </a:cubicBezTo>
                        <a:cubicBezTo>
                          <a:pt x="282" y="87"/>
                          <a:pt x="283" y="87"/>
                          <a:pt x="282" y="86"/>
                        </a:cubicBezTo>
                        <a:cubicBezTo>
                          <a:pt x="282" y="86"/>
                          <a:pt x="282" y="86"/>
                          <a:pt x="282" y="86"/>
                        </a:cubicBezTo>
                        <a:cubicBezTo>
                          <a:pt x="282" y="84"/>
                          <a:pt x="281" y="82"/>
                          <a:pt x="281" y="80"/>
                        </a:cubicBezTo>
                        <a:cubicBezTo>
                          <a:pt x="284" y="79"/>
                          <a:pt x="285" y="78"/>
                          <a:pt x="287" y="76"/>
                        </a:cubicBezTo>
                        <a:cubicBezTo>
                          <a:pt x="290" y="77"/>
                          <a:pt x="292" y="81"/>
                          <a:pt x="293" y="84"/>
                        </a:cubicBezTo>
                        <a:cubicBezTo>
                          <a:pt x="295" y="85"/>
                          <a:pt x="292" y="86"/>
                          <a:pt x="291" y="87"/>
                        </a:cubicBezTo>
                        <a:cubicBezTo>
                          <a:pt x="293" y="93"/>
                          <a:pt x="299" y="84"/>
                          <a:pt x="301" y="84"/>
                        </a:cubicBezTo>
                        <a:cubicBezTo>
                          <a:pt x="302" y="83"/>
                          <a:pt x="302" y="82"/>
                          <a:pt x="302" y="81"/>
                        </a:cubicBezTo>
                        <a:cubicBezTo>
                          <a:pt x="303" y="80"/>
                          <a:pt x="305" y="81"/>
                          <a:pt x="306" y="82"/>
                        </a:cubicBezTo>
                        <a:cubicBezTo>
                          <a:pt x="307" y="83"/>
                          <a:pt x="308" y="85"/>
                          <a:pt x="309" y="85"/>
                        </a:cubicBezTo>
                        <a:cubicBezTo>
                          <a:pt x="311" y="85"/>
                          <a:pt x="312" y="82"/>
                          <a:pt x="315" y="82"/>
                        </a:cubicBezTo>
                        <a:cubicBezTo>
                          <a:pt x="315" y="81"/>
                          <a:pt x="315" y="81"/>
                          <a:pt x="314" y="81"/>
                        </a:cubicBezTo>
                        <a:cubicBezTo>
                          <a:pt x="314" y="79"/>
                          <a:pt x="314" y="77"/>
                          <a:pt x="317" y="78"/>
                        </a:cubicBezTo>
                        <a:cubicBezTo>
                          <a:pt x="317" y="77"/>
                          <a:pt x="317" y="76"/>
                          <a:pt x="315" y="76"/>
                        </a:cubicBezTo>
                        <a:cubicBezTo>
                          <a:pt x="315" y="74"/>
                          <a:pt x="312" y="74"/>
                          <a:pt x="313" y="72"/>
                        </a:cubicBezTo>
                        <a:cubicBezTo>
                          <a:pt x="313" y="70"/>
                          <a:pt x="314" y="69"/>
                          <a:pt x="315" y="69"/>
                        </a:cubicBezTo>
                        <a:cubicBezTo>
                          <a:pt x="318" y="68"/>
                          <a:pt x="316" y="64"/>
                          <a:pt x="317" y="64"/>
                        </a:cubicBezTo>
                        <a:cubicBezTo>
                          <a:pt x="319" y="64"/>
                          <a:pt x="320" y="64"/>
                          <a:pt x="322" y="64"/>
                        </a:cubicBezTo>
                        <a:cubicBezTo>
                          <a:pt x="324" y="64"/>
                          <a:pt x="326" y="64"/>
                          <a:pt x="327" y="63"/>
                        </a:cubicBezTo>
                        <a:cubicBezTo>
                          <a:pt x="329" y="62"/>
                          <a:pt x="330" y="58"/>
                          <a:pt x="332" y="58"/>
                        </a:cubicBezTo>
                        <a:cubicBezTo>
                          <a:pt x="331" y="58"/>
                          <a:pt x="331" y="58"/>
                          <a:pt x="331" y="58"/>
                        </a:cubicBezTo>
                        <a:cubicBezTo>
                          <a:pt x="331" y="57"/>
                          <a:pt x="326" y="56"/>
                          <a:pt x="328" y="54"/>
                        </a:cubicBezTo>
                        <a:cubicBezTo>
                          <a:pt x="331" y="51"/>
                          <a:pt x="332" y="55"/>
                          <a:pt x="334" y="56"/>
                        </a:cubicBezTo>
                        <a:cubicBezTo>
                          <a:pt x="334" y="54"/>
                          <a:pt x="335" y="51"/>
                          <a:pt x="336" y="50"/>
                        </a:cubicBezTo>
                        <a:cubicBezTo>
                          <a:pt x="337" y="50"/>
                          <a:pt x="337" y="52"/>
                          <a:pt x="338" y="53"/>
                        </a:cubicBezTo>
                        <a:cubicBezTo>
                          <a:pt x="338" y="52"/>
                          <a:pt x="338" y="52"/>
                          <a:pt x="339" y="51"/>
                        </a:cubicBezTo>
                        <a:cubicBezTo>
                          <a:pt x="342" y="54"/>
                          <a:pt x="342" y="48"/>
                          <a:pt x="342" y="46"/>
                        </a:cubicBezTo>
                        <a:cubicBezTo>
                          <a:pt x="343" y="46"/>
                          <a:pt x="343" y="46"/>
                          <a:pt x="343" y="47"/>
                        </a:cubicBezTo>
                        <a:cubicBezTo>
                          <a:pt x="343" y="49"/>
                          <a:pt x="345" y="54"/>
                          <a:pt x="348" y="53"/>
                        </a:cubicBezTo>
                        <a:cubicBezTo>
                          <a:pt x="348" y="52"/>
                          <a:pt x="349" y="52"/>
                          <a:pt x="350" y="52"/>
                        </a:cubicBezTo>
                        <a:cubicBezTo>
                          <a:pt x="351" y="55"/>
                          <a:pt x="353" y="57"/>
                          <a:pt x="354" y="60"/>
                        </a:cubicBezTo>
                        <a:cubicBezTo>
                          <a:pt x="354" y="63"/>
                          <a:pt x="357" y="62"/>
                          <a:pt x="359" y="62"/>
                        </a:cubicBezTo>
                        <a:cubicBezTo>
                          <a:pt x="362" y="62"/>
                          <a:pt x="364" y="63"/>
                          <a:pt x="367" y="65"/>
                        </a:cubicBezTo>
                        <a:cubicBezTo>
                          <a:pt x="369" y="65"/>
                          <a:pt x="372" y="65"/>
                          <a:pt x="375" y="65"/>
                        </a:cubicBezTo>
                        <a:cubicBezTo>
                          <a:pt x="375" y="64"/>
                          <a:pt x="375" y="64"/>
                          <a:pt x="375" y="63"/>
                        </a:cubicBezTo>
                        <a:cubicBezTo>
                          <a:pt x="379" y="63"/>
                          <a:pt x="378" y="59"/>
                          <a:pt x="382" y="59"/>
                        </a:cubicBezTo>
                        <a:cubicBezTo>
                          <a:pt x="381" y="59"/>
                          <a:pt x="379" y="56"/>
                          <a:pt x="379" y="55"/>
                        </a:cubicBezTo>
                        <a:cubicBezTo>
                          <a:pt x="380" y="54"/>
                          <a:pt x="381" y="55"/>
                          <a:pt x="382" y="55"/>
                        </a:cubicBezTo>
                        <a:cubicBezTo>
                          <a:pt x="383" y="55"/>
                          <a:pt x="383" y="54"/>
                          <a:pt x="384" y="53"/>
                        </a:cubicBezTo>
                        <a:cubicBezTo>
                          <a:pt x="385" y="52"/>
                          <a:pt x="392" y="53"/>
                          <a:pt x="391" y="50"/>
                        </a:cubicBezTo>
                        <a:cubicBezTo>
                          <a:pt x="390" y="50"/>
                          <a:pt x="389" y="49"/>
                          <a:pt x="390" y="48"/>
                        </a:cubicBezTo>
                        <a:cubicBezTo>
                          <a:pt x="391" y="47"/>
                          <a:pt x="392" y="47"/>
                          <a:pt x="395" y="47"/>
                        </a:cubicBezTo>
                        <a:cubicBezTo>
                          <a:pt x="395" y="49"/>
                          <a:pt x="394" y="51"/>
                          <a:pt x="396" y="52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6" name="Freeform 435">
                    <a:extLst>
                      <a:ext uri="{FF2B5EF4-FFF2-40B4-BE49-F238E27FC236}">
                        <a16:creationId xmlns:a16="http://schemas.microsoft.com/office/drawing/2014/main" xmlns="" id="{DC17DB31-DA4B-4C6E-B2B8-BC9C122F062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51476" y="2743201"/>
                    <a:ext cx="144463" cy="184150"/>
                  </a:xfrm>
                  <a:custGeom>
                    <a:avLst/>
                    <a:gdLst>
                      <a:gd name="T0" fmla="*/ 0 w 41"/>
                      <a:gd name="T1" fmla="*/ 44 h 52"/>
                      <a:gd name="T2" fmla="*/ 0 w 41"/>
                      <a:gd name="T3" fmla="*/ 44 h 52"/>
                      <a:gd name="T4" fmla="*/ 1 w 41"/>
                      <a:gd name="T5" fmla="*/ 38 h 52"/>
                      <a:gd name="T6" fmla="*/ 2 w 41"/>
                      <a:gd name="T7" fmla="*/ 35 h 52"/>
                      <a:gd name="T8" fmla="*/ 2 w 41"/>
                      <a:gd name="T9" fmla="*/ 29 h 52"/>
                      <a:gd name="T10" fmla="*/ 5 w 41"/>
                      <a:gd name="T11" fmla="*/ 26 h 52"/>
                      <a:gd name="T12" fmla="*/ 5 w 41"/>
                      <a:gd name="T13" fmla="*/ 23 h 52"/>
                      <a:gd name="T14" fmla="*/ 6 w 41"/>
                      <a:gd name="T15" fmla="*/ 21 h 52"/>
                      <a:gd name="T16" fmla="*/ 8 w 41"/>
                      <a:gd name="T17" fmla="*/ 18 h 52"/>
                      <a:gd name="T18" fmla="*/ 9 w 41"/>
                      <a:gd name="T19" fmla="*/ 13 h 52"/>
                      <a:gd name="T20" fmla="*/ 7 w 41"/>
                      <a:gd name="T21" fmla="*/ 9 h 52"/>
                      <a:gd name="T22" fmla="*/ 10 w 41"/>
                      <a:gd name="T23" fmla="*/ 9 h 52"/>
                      <a:gd name="T24" fmla="*/ 14 w 41"/>
                      <a:gd name="T25" fmla="*/ 9 h 52"/>
                      <a:gd name="T26" fmla="*/ 18 w 41"/>
                      <a:gd name="T27" fmla="*/ 6 h 52"/>
                      <a:gd name="T28" fmla="*/ 20 w 41"/>
                      <a:gd name="T29" fmla="*/ 8 h 52"/>
                      <a:gd name="T30" fmla="*/ 20 w 41"/>
                      <a:gd name="T31" fmla="*/ 6 h 52"/>
                      <a:gd name="T32" fmla="*/ 22 w 41"/>
                      <a:gd name="T33" fmla="*/ 4 h 52"/>
                      <a:gd name="T34" fmla="*/ 25 w 41"/>
                      <a:gd name="T35" fmla="*/ 5 h 52"/>
                      <a:gd name="T36" fmla="*/ 25 w 41"/>
                      <a:gd name="T37" fmla="*/ 2 h 52"/>
                      <a:gd name="T38" fmla="*/ 27 w 41"/>
                      <a:gd name="T39" fmla="*/ 2 h 52"/>
                      <a:gd name="T40" fmla="*/ 27 w 41"/>
                      <a:gd name="T41" fmla="*/ 1 h 52"/>
                      <a:gd name="T42" fmla="*/ 30 w 41"/>
                      <a:gd name="T43" fmla="*/ 1 h 52"/>
                      <a:gd name="T44" fmla="*/ 31 w 41"/>
                      <a:gd name="T45" fmla="*/ 3 h 52"/>
                      <a:gd name="T46" fmla="*/ 33 w 41"/>
                      <a:gd name="T47" fmla="*/ 3 h 52"/>
                      <a:gd name="T48" fmla="*/ 36 w 41"/>
                      <a:gd name="T49" fmla="*/ 4 h 52"/>
                      <a:gd name="T50" fmla="*/ 38 w 41"/>
                      <a:gd name="T51" fmla="*/ 8 h 52"/>
                      <a:gd name="T52" fmla="*/ 40 w 41"/>
                      <a:gd name="T53" fmla="*/ 12 h 52"/>
                      <a:gd name="T54" fmla="*/ 39 w 41"/>
                      <a:gd name="T55" fmla="*/ 16 h 52"/>
                      <a:gd name="T56" fmla="*/ 40 w 41"/>
                      <a:gd name="T57" fmla="*/ 19 h 52"/>
                      <a:gd name="T58" fmla="*/ 38 w 41"/>
                      <a:gd name="T59" fmla="*/ 23 h 52"/>
                      <a:gd name="T60" fmla="*/ 36 w 41"/>
                      <a:gd name="T61" fmla="*/ 28 h 52"/>
                      <a:gd name="T62" fmla="*/ 35 w 41"/>
                      <a:gd name="T63" fmla="*/ 28 h 52"/>
                      <a:gd name="T64" fmla="*/ 35 w 41"/>
                      <a:gd name="T65" fmla="*/ 29 h 52"/>
                      <a:gd name="T66" fmla="*/ 36 w 41"/>
                      <a:gd name="T67" fmla="*/ 30 h 52"/>
                      <a:gd name="T68" fmla="*/ 38 w 41"/>
                      <a:gd name="T69" fmla="*/ 37 h 52"/>
                      <a:gd name="T70" fmla="*/ 41 w 41"/>
                      <a:gd name="T71" fmla="*/ 39 h 52"/>
                      <a:gd name="T72" fmla="*/ 40 w 41"/>
                      <a:gd name="T73" fmla="*/ 44 h 52"/>
                      <a:gd name="T74" fmla="*/ 37 w 41"/>
                      <a:gd name="T75" fmla="*/ 47 h 52"/>
                      <a:gd name="T76" fmla="*/ 35 w 41"/>
                      <a:gd name="T77" fmla="*/ 46 h 52"/>
                      <a:gd name="T78" fmla="*/ 33 w 41"/>
                      <a:gd name="T79" fmla="*/ 48 h 52"/>
                      <a:gd name="T80" fmla="*/ 29 w 41"/>
                      <a:gd name="T81" fmla="*/ 47 h 52"/>
                      <a:gd name="T82" fmla="*/ 23 w 41"/>
                      <a:gd name="T83" fmla="*/ 46 h 52"/>
                      <a:gd name="T84" fmla="*/ 23 w 41"/>
                      <a:gd name="T85" fmla="*/ 48 h 52"/>
                      <a:gd name="T86" fmla="*/ 15 w 41"/>
                      <a:gd name="T87" fmla="*/ 50 h 52"/>
                      <a:gd name="T88" fmla="*/ 11 w 41"/>
                      <a:gd name="T89" fmla="*/ 49 h 52"/>
                      <a:gd name="T90" fmla="*/ 5 w 41"/>
                      <a:gd name="T91" fmla="*/ 49 h 52"/>
                      <a:gd name="T92" fmla="*/ 4 w 41"/>
                      <a:gd name="T93" fmla="*/ 48 h 52"/>
                      <a:gd name="T94" fmla="*/ 0 w 41"/>
                      <a:gd name="T95" fmla="*/ 44 h 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41" h="52">
                        <a:moveTo>
                          <a:pt x="0" y="44"/>
                        </a:move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3" y="42"/>
                          <a:pt x="2" y="41"/>
                          <a:pt x="1" y="38"/>
                        </a:cubicBezTo>
                        <a:cubicBezTo>
                          <a:pt x="1" y="37"/>
                          <a:pt x="2" y="36"/>
                          <a:pt x="2" y="35"/>
                        </a:cubicBezTo>
                        <a:cubicBezTo>
                          <a:pt x="3" y="33"/>
                          <a:pt x="2" y="31"/>
                          <a:pt x="2" y="29"/>
                        </a:cubicBezTo>
                        <a:cubicBezTo>
                          <a:pt x="2" y="27"/>
                          <a:pt x="4" y="27"/>
                          <a:pt x="5" y="26"/>
                        </a:cubicBezTo>
                        <a:cubicBezTo>
                          <a:pt x="5" y="25"/>
                          <a:pt x="5" y="24"/>
                          <a:pt x="5" y="23"/>
                        </a:cubicBezTo>
                        <a:cubicBezTo>
                          <a:pt x="6" y="22"/>
                          <a:pt x="6" y="22"/>
                          <a:pt x="6" y="21"/>
                        </a:cubicBezTo>
                        <a:cubicBezTo>
                          <a:pt x="7" y="20"/>
                          <a:pt x="8" y="19"/>
                          <a:pt x="8" y="18"/>
                        </a:cubicBezTo>
                        <a:cubicBezTo>
                          <a:pt x="8" y="17"/>
                          <a:pt x="9" y="14"/>
                          <a:pt x="9" y="13"/>
                        </a:cubicBezTo>
                        <a:cubicBezTo>
                          <a:pt x="8" y="12"/>
                          <a:pt x="7" y="11"/>
                          <a:pt x="7" y="9"/>
                        </a:cubicBezTo>
                        <a:cubicBezTo>
                          <a:pt x="8" y="9"/>
                          <a:pt x="9" y="9"/>
                          <a:pt x="10" y="9"/>
                        </a:cubicBezTo>
                        <a:cubicBezTo>
                          <a:pt x="10" y="7"/>
                          <a:pt x="13" y="9"/>
                          <a:pt x="14" y="9"/>
                        </a:cubicBezTo>
                        <a:cubicBezTo>
                          <a:pt x="16" y="8"/>
                          <a:pt x="15" y="5"/>
                          <a:pt x="18" y="6"/>
                        </a:cubicBezTo>
                        <a:cubicBezTo>
                          <a:pt x="19" y="6"/>
                          <a:pt x="18" y="9"/>
                          <a:pt x="20" y="8"/>
                        </a:cubicBezTo>
                        <a:cubicBezTo>
                          <a:pt x="20" y="6"/>
                          <a:pt x="20" y="6"/>
                          <a:pt x="20" y="6"/>
                        </a:cubicBezTo>
                        <a:cubicBezTo>
                          <a:pt x="21" y="5"/>
                          <a:pt x="22" y="5"/>
                          <a:pt x="22" y="4"/>
                        </a:cubicBezTo>
                        <a:cubicBezTo>
                          <a:pt x="23" y="4"/>
                          <a:pt x="24" y="5"/>
                          <a:pt x="25" y="5"/>
                        </a:cubicBezTo>
                        <a:cubicBezTo>
                          <a:pt x="25" y="4"/>
                          <a:pt x="25" y="3"/>
                          <a:pt x="25" y="2"/>
                        </a:cubicBezTo>
                        <a:cubicBezTo>
                          <a:pt x="26" y="2"/>
                          <a:pt x="27" y="2"/>
                          <a:pt x="27" y="2"/>
                        </a:cubicBezTo>
                        <a:cubicBezTo>
                          <a:pt x="27" y="2"/>
                          <a:pt x="27" y="1"/>
                          <a:pt x="27" y="1"/>
                        </a:cubicBezTo>
                        <a:cubicBezTo>
                          <a:pt x="28" y="1"/>
                          <a:pt x="29" y="0"/>
                          <a:pt x="30" y="1"/>
                        </a:cubicBezTo>
                        <a:cubicBezTo>
                          <a:pt x="31" y="2"/>
                          <a:pt x="29" y="3"/>
                          <a:pt x="31" y="3"/>
                        </a:cubicBezTo>
                        <a:cubicBezTo>
                          <a:pt x="32" y="3"/>
                          <a:pt x="32" y="3"/>
                          <a:pt x="33" y="3"/>
                        </a:cubicBezTo>
                        <a:cubicBezTo>
                          <a:pt x="34" y="3"/>
                          <a:pt x="35" y="3"/>
                          <a:pt x="36" y="4"/>
                        </a:cubicBezTo>
                        <a:cubicBezTo>
                          <a:pt x="38" y="5"/>
                          <a:pt x="38" y="6"/>
                          <a:pt x="38" y="8"/>
                        </a:cubicBezTo>
                        <a:cubicBezTo>
                          <a:pt x="38" y="10"/>
                          <a:pt x="37" y="12"/>
                          <a:pt x="40" y="12"/>
                        </a:cubicBezTo>
                        <a:cubicBezTo>
                          <a:pt x="40" y="13"/>
                          <a:pt x="40" y="14"/>
                          <a:pt x="39" y="16"/>
                        </a:cubicBezTo>
                        <a:cubicBezTo>
                          <a:pt x="39" y="16"/>
                          <a:pt x="37" y="19"/>
                          <a:pt x="40" y="19"/>
                        </a:cubicBezTo>
                        <a:cubicBezTo>
                          <a:pt x="40" y="20"/>
                          <a:pt x="39" y="22"/>
                          <a:pt x="38" y="23"/>
                        </a:cubicBezTo>
                        <a:cubicBezTo>
                          <a:pt x="38" y="25"/>
                          <a:pt x="36" y="26"/>
                          <a:pt x="36" y="28"/>
                        </a:cubicBezTo>
                        <a:cubicBezTo>
                          <a:pt x="35" y="28"/>
                          <a:pt x="35" y="28"/>
                          <a:pt x="35" y="28"/>
                        </a:cubicBezTo>
                        <a:cubicBezTo>
                          <a:pt x="35" y="28"/>
                          <a:pt x="35" y="29"/>
                          <a:pt x="35" y="29"/>
                        </a:cubicBezTo>
                        <a:cubicBezTo>
                          <a:pt x="36" y="30"/>
                          <a:pt x="36" y="30"/>
                          <a:pt x="36" y="30"/>
                        </a:cubicBezTo>
                        <a:cubicBezTo>
                          <a:pt x="36" y="32"/>
                          <a:pt x="36" y="35"/>
                          <a:pt x="38" y="37"/>
                        </a:cubicBezTo>
                        <a:cubicBezTo>
                          <a:pt x="39" y="38"/>
                          <a:pt x="40" y="38"/>
                          <a:pt x="41" y="39"/>
                        </a:cubicBezTo>
                        <a:cubicBezTo>
                          <a:pt x="41" y="41"/>
                          <a:pt x="40" y="42"/>
                          <a:pt x="40" y="44"/>
                        </a:cubicBezTo>
                        <a:cubicBezTo>
                          <a:pt x="37" y="43"/>
                          <a:pt x="37" y="45"/>
                          <a:pt x="37" y="47"/>
                        </a:cubicBezTo>
                        <a:cubicBezTo>
                          <a:pt x="36" y="47"/>
                          <a:pt x="36" y="47"/>
                          <a:pt x="35" y="46"/>
                        </a:cubicBezTo>
                        <a:cubicBezTo>
                          <a:pt x="34" y="47"/>
                          <a:pt x="34" y="48"/>
                          <a:pt x="33" y="48"/>
                        </a:cubicBezTo>
                        <a:cubicBezTo>
                          <a:pt x="32" y="45"/>
                          <a:pt x="32" y="48"/>
                          <a:pt x="29" y="47"/>
                        </a:cubicBezTo>
                        <a:cubicBezTo>
                          <a:pt x="27" y="47"/>
                          <a:pt x="26" y="44"/>
                          <a:pt x="23" y="46"/>
                        </a:cubicBezTo>
                        <a:cubicBezTo>
                          <a:pt x="23" y="47"/>
                          <a:pt x="23" y="47"/>
                          <a:pt x="23" y="48"/>
                        </a:cubicBezTo>
                        <a:cubicBezTo>
                          <a:pt x="20" y="50"/>
                          <a:pt x="19" y="52"/>
                          <a:pt x="15" y="50"/>
                        </a:cubicBezTo>
                        <a:cubicBezTo>
                          <a:pt x="13" y="49"/>
                          <a:pt x="13" y="49"/>
                          <a:pt x="11" y="49"/>
                        </a:cubicBezTo>
                        <a:cubicBezTo>
                          <a:pt x="9" y="49"/>
                          <a:pt x="7" y="49"/>
                          <a:pt x="5" y="49"/>
                        </a:cubicBezTo>
                        <a:cubicBezTo>
                          <a:pt x="4" y="48"/>
                          <a:pt x="4" y="48"/>
                          <a:pt x="4" y="48"/>
                        </a:cubicBezTo>
                        <a:cubicBezTo>
                          <a:pt x="2" y="46"/>
                          <a:pt x="4" y="45"/>
                          <a:pt x="0" y="44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7" name="Freeform 436">
                    <a:extLst>
                      <a:ext uri="{FF2B5EF4-FFF2-40B4-BE49-F238E27FC236}">
                        <a16:creationId xmlns:a16="http://schemas.microsoft.com/office/drawing/2014/main" xmlns="" id="{D7782D67-E067-493C-979C-81E209F2004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79763" y="5332413"/>
                    <a:ext cx="434975" cy="806450"/>
                  </a:xfrm>
                  <a:custGeom>
                    <a:avLst/>
                    <a:gdLst>
                      <a:gd name="T0" fmla="*/ 95 w 123"/>
                      <a:gd name="T1" fmla="*/ 222 h 228"/>
                      <a:gd name="T2" fmla="*/ 81 w 123"/>
                      <a:gd name="T3" fmla="*/ 201 h 228"/>
                      <a:gd name="T4" fmla="*/ 77 w 123"/>
                      <a:gd name="T5" fmla="*/ 196 h 228"/>
                      <a:gd name="T6" fmla="*/ 76 w 123"/>
                      <a:gd name="T7" fmla="*/ 193 h 228"/>
                      <a:gd name="T8" fmla="*/ 73 w 123"/>
                      <a:gd name="T9" fmla="*/ 188 h 228"/>
                      <a:gd name="T10" fmla="*/ 71 w 123"/>
                      <a:gd name="T11" fmla="*/ 181 h 228"/>
                      <a:gd name="T12" fmla="*/ 72 w 123"/>
                      <a:gd name="T13" fmla="*/ 189 h 228"/>
                      <a:gd name="T14" fmla="*/ 67 w 123"/>
                      <a:gd name="T15" fmla="*/ 175 h 228"/>
                      <a:gd name="T16" fmla="*/ 64 w 123"/>
                      <a:gd name="T17" fmla="*/ 153 h 228"/>
                      <a:gd name="T18" fmla="*/ 64 w 123"/>
                      <a:gd name="T19" fmla="*/ 147 h 228"/>
                      <a:gd name="T20" fmla="*/ 67 w 123"/>
                      <a:gd name="T21" fmla="*/ 159 h 228"/>
                      <a:gd name="T22" fmla="*/ 71 w 123"/>
                      <a:gd name="T23" fmla="*/ 162 h 228"/>
                      <a:gd name="T24" fmla="*/ 68 w 123"/>
                      <a:gd name="T25" fmla="*/ 152 h 228"/>
                      <a:gd name="T26" fmla="*/ 61 w 123"/>
                      <a:gd name="T27" fmla="*/ 140 h 228"/>
                      <a:gd name="T28" fmla="*/ 61 w 123"/>
                      <a:gd name="T29" fmla="*/ 132 h 228"/>
                      <a:gd name="T30" fmla="*/ 61 w 123"/>
                      <a:gd name="T31" fmla="*/ 131 h 228"/>
                      <a:gd name="T32" fmla="*/ 57 w 123"/>
                      <a:gd name="T33" fmla="*/ 125 h 228"/>
                      <a:gd name="T34" fmla="*/ 54 w 123"/>
                      <a:gd name="T35" fmla="*/ 115 h 228"/>
                      <a:gd name="T36" fmla="*/ 54 w 123"/>
                      <a:gd name="T37" fmla="*/ 115 h 228"/>
                      <a:gd name="T38" fmla="*/ 49 w 123"/>
                      <a:gd name="T39" fmla="*/ 106 h 228"/>
                      <a:gd name="T40" fmla="*/ 50 w 123"/>
                      <a:gd name="T41" fmla="*/ 102 h 228"/>
                      <a:gd name="T42" fmla="*/ 48 w 123"/>
                      <a:gd name="T43" fmla="*/ 105 h 228"/>
                      <a:gd name="T44" fmla="*/ 45 w 123"/>
                      <a:gd name="T45" fmla="*/ 92 h 228"/>
                      <a:gd name="T46" fmla="*/ 45 w 123"/>
                      <a:gd name="T47" fmla="*/ 80 h 228"/>
                      <a:gd name="T48" fmla="*/ 41 w 123"/>
                      <a:gd name="T49" fmla="*/ 75 h 228"/>
                      <a:gd name="T50" fmla="*/ 38 w 123"/>
                      <a:gd name="T51" fmla="*/ 70 h 228"/>
                      <a:gd name="T52" fmla="*/ 34 w 123"/>
                      <a:gd name="T53" fmla="*/ 65 h 228"/>
                      <a:gd name="T54" fmla="*/ 33 w 123"/>
                      <a:gd name="T55" fmla="*/ 60 h 228"/>
                      <a:gd name="T56" fmla="*/ 26 w 123"/>
                      <a:gd name="T57" fmla="*/ 50 h 228"/>
                      <a:gd name="T58" fmla="*/ 22 w 123"/>
                      <a:gd name="T59" fmla="*/ 43 h 228"/>
                      <a:gd name="T60" fmla="*/ 14 w 123"/>
                      <a:gd name="T61" fmla="*/ 38 h 228"/>
                      <a:gd name="T62" fmla="*/ 9 w 123"/>
                      <a:gd name="T63" fmla="*/ 23 h 228"/>
                      <a:gd name="T64" fmla="*/ 3 w 123"/>
                      <a:gd name="T65" fmla="*/ 1 h 228"/>
                      <a:gd name="T66" fmla="*/ 11 w 123"/>
                      <a:gd name="T67" fmla="*/ 7 h 228"/>
                      <a:gd name="T68" fmla="*/ 18 w 123"/>
                      <a:gd name="T69" fmla="*/ 12 h 228"/>
                      <a:gd name="T70" fmla="*/ 25 w 123"/>
                      <a:gd name="T71" fmla="*/ 16 h 228"/>
                      <a:gd name="T72" fmla="*/ 30 w 123"/>
                      <a:gd name="T73" fmla="*/ 26 h 228"/>
                      <a:gd name="T74" fmla="*/ 51 w 123"/>
                      <a:gd name="T75" fmla="*/ 45 h 228"/>
                      <a:gd name="T76" fmla="*/ 66 w 123"/>
                      <a:gd name="T77" fmla="*/ 49 h 228"/>
                      <a:gd name="T78" fmla="*/ 77 w 123"/>
                      <a:gd name="T79" fmla="*/ 57 h 228"/>
                      <a:gd name="T80" fmla="*/ 73 w 123"/>
                      <a:gd name="T81" fmla="*/ 64 h 228"/>
                      <a:gd name="T82" fmla="*/ 76 w 123"/>
                      <a:gd name="T83" fmla="*/ 72 h 228"/>
                      <a:gd name="T84" fmla="*/ 76 w 123"/>
                      <a:gd name="T85" fmla="*/ 83 h 228"/>
                      <a:gd name="T86" fmla="*/ 87 w 123"/>
                      <a:gd name="T87" fmla="*/ 98 h 228"/>
                      <a:gd name="T88" fmla="*/ 95 w 123"/>
                      <a:gd name="T89" fmla="*/ 125 h 228"/>
                      <a:gd name="T90" fmla="*/ 108 w 123"/>
                      <a:gd name="T91" fmla="*/ 129 h 228"/>
                      <a:gd name="T92" fmla="*/ 113 w 123"/>
                      <a:gd name="T93" fmla="*/ 152 h 228"/>
                      <a:gd name="T94" fmla="*/ 116 w 123"/>
                      <a:gd name="T95" fmla="*/ 166 h 228"/>
                      <a:gd name="T96" fmla="*/ 112 w 123"/>
                      <a:gd name="T97" fmla="*/ 189 h 228"/>
                      <a:gd name="T98" fmla="*/ 109 w 123"/>
                      <a:gd name="T99" fmla="*/ 207 h 228"/>
                      <a:gd name="T100" fmla="*/ 109 w 123"/>
                      <a:gd name="T101" fmla="*/ 221 h 228"/>
                      <a:gd name="T102" fmla="*/ 102 w 123"/>
                      <a:gd name="T103" fmla="*/ 228 h 2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123" h="228">
                        <a:moveTo>
                          <a:pt x="102" y="228"/>
                        </a:moveTo>
                        <a:cubicBezTo>
                          <a:pt x="102" y="228"/>
                          <a:pt x="102" y="228"/>
                          <a:pt x="102" y="228"/>
                        </a:cubicBezTo>
                        <a:cubicBezTo>
                          <a:pt x="101" y="227"/>
                          <a:pt x="100" y="226"/>
                          <a:pt x="99" y="225"/>
                        </a:cubicBezTo>
                        <a:cubicBezTo>
                          <a:pt x="97" y="224"/>
                          <a:pt x="96" y="224"/>
                          <a:pt x="95" y="222"/>
                        </a:cubicBezTo>
                        <a:cubicBezTo>
                          <a:pt x="94" y="220"/>
                          <a:pt x="94" y="219"/>
                          <a:pt x="92" y="217"/>
                        </a:cubicBezTo>
                        <a:cubicBezTo>
                          <a:pt x="90" y="214"/>
                          <a:pt x="87" y="212"/>
                          <a:pt x="85" y="209"/>
                        </a:cubicBezTo>
                        <a:cubicBezTo>
                          <a:pt x="83" y="207"/>
                          <a:pt x="79" y="203"/>
                          <a:pt x="79" y="200"/>
                        </a:cubicBezTo>
                        <a:cubicBezTo>
                          <a:pt x="80" y="200"/>
                          <a:pt x="80" y="200"/>
                          <a:pt x="81" y="201"/>
                        </a:cubicBezTo>
                        <a:cubicBezTo>
                          <a:pt x="81" y="200"/>
                          <a:pt x="81" y="199"/>
                          <a:pt x="81" y="199"/>
                        </a:cubicBezTo>
                        <a:cubicBezTo>
                          <a:pt x="81" y="199"/>
                          <a:pt x="78" y="199"/>
                          <a:pt x="78" y="199"/>
                        </a:cubicBezTo>
                        <a:cubicBezTo>
                          <a:pt x="77" y="198"/>
                          <a:pt x="75" y="197"/>
                          <a:pt x="76" y="196"/>
                        </a:cubicBezTo>
                        <a:cubicBezTo>
                          <a:pt x="76" y="196"/>
                          <a:pt x="77" y="196"/>
                          <a:pt x="77" y="196"/>
                        </a:cubicBezTo>
                        <a:cubicBezTo>
                          <a:pt x="77" y="196"/>
                          <a:pt x="77" y="195"/>
                          <a:pt x="76" y="195"/>
                        </a:cubicBezTo>
                        <a:cubicBezTo>
                          <a:pt x="77" y="194"/>
                          <a:pt x="79" y="194"/>
                          <a:pt x="80" y="193"/>
                        </a:cubicBezTo>
                        <a:cubicBezTo>
                          <a:pt x="79" y="192"/>
                          <a:pt x="78" y="191"/>
                          <a:pt x="76" y="191"/>
                        </a:cubicBezTo>
                        <a:cubicBezTo>
                          <a:pt x="76" y="192"/>
                          <a:pt x="76" y="192"/>
                          <a:pt x="76" y="193"/>
                        </a:cubicBezTo>
                        <a:cubicBezTo>
                          <a:pt x="75" y="193"/>
                          <a:pt x="74" y="193"/>
                          <a:pt x="74" y="194"/>
                        </a:cubicBezTo>
                        <a:cubicBezTo>
                          <a:pt x="73" y="192"/>
                          <a:pt x="74" y="191"/>
                          <a:pt x="72" y="190"/>
                        </a:cubicBezTo>
                        <a:cubicBezTo>
                          <a:pt x="72" y="190"/>
                          <a:pt x="73" y="190"/>
                          <a:pt x="73" y="189"/>
                        </a:cubicBezTo>
                        <a:cubicBezTo>
                          <a:pt x="73" y="189"/>
                          <a:pt x="73" y="188"/>
                          <a:pt x="73" y="188"/>
                        </a:cubicBezTo>
                        <a:cubicBezTo>
                          <a:pt x="73" y="187"/>
                          <a:pt x="73" y="187"/>
                          <a:pt x="73" y="186"/>
                        </a:cubicBezTo>
                        <a:cubicBezTo>
                          <a:pt x="72" y="185"/>
                          <a:pt x="72" y="185"/>
                          <a:pt x="72" y="184"/>
                        </a:cubicBezTo>
                        <a:cubicBezTo>
                          <a:pt x="72" y="184"/>
                          <a:pt x="72" y="183"/>
                          <a:pt x="71" y="182"/>
                        </a:cubicBezTo>
                        <a:cubicBezTo>
                          <a:pt x="71" y="182"/>
                          <a:pt x="71" y="182"/>
                          <a:pt x="71" y="181"/>
                        </a:cubicBezTo>
                        <a:cubicBezTo>
                          <a:pt x="71" y="182"/>
                          <a:pt x="71" y="182"/>
                          <a:pt x="72" y="183"/>
                        </a:cubicBezTo>
                        <a:cubicBezTo>
                          <a:pt x="72" y="184"/>
                          <a:pt x="72" y="184"/>
                          <a:pt x="72" y="185"/>
                        </a:cubicBezTo>
                        <a:cubicBezTo>
                          <a:pt x="72" y="185"/>
                          <a:pt x="72" y="186"/>
                          <a:pt x="72" y="187"/>
                        </a:cubicBezTo>
                        <a:cubicBezTo>
                          <a:pt x="72" y="187"/>
                          <a:pt x="72" y="188"/>
                          <a:pt x="72" y="189"/>
                        </a:cubicBezTo>
                        <a:cubicBezTo>
                          <a:pt x="71" y="189"/>
                          <a:pt x="71" y="188"/>
                          <a:pt x="71" y="187"/>
                        </a:cubicBezTo>
                        <a:cubicBezTo>
                          <a:pt x="71" y="186"/>
                          <a:pt x="71" y="185"/>
                          <a:pt x="71" y="184"/>
                        </a:cubicBezTo>
                        <a:cubicBezTo>
                          <a:pt x="70" y="183"/>
                          <a:pt x="69" y="181"/>
                          <a:pt x="69" y="179"/>
                        </a:cubicBezTo>
                        <a:cubicBezTo>
                          <a:pt x="68" y="178"/>
                          <a:pt x="67" y="176"/>
                          <a:pt x="67" y="175"/>
                        </a:cubicBezTo>
                        <a:cubicBezTo>
                          <a:pt x="66" y="173"/>
                          <a:pt x="67" y="171"/>
                          <a:pt x="66" y="170"/>
                        </a:cubicBezTo>
                        <a:cubicBezTo>
                          <a:pt x="65" y="168"/>
                          <a:pt x="65" y="167"/>
                          <a:pt x="64" y="165"/>
                        </a:cubicBezTo>
                        <a:cubicBezTo>
                          <a:pt x="64" y="163"/>
                          <a:pt x="64" y="161"/>
                          <a:pt x="64" y="159"/>
                        </a:cubicBezTo>
                        <a:cubicBezTo>
                          <a:pt x="64" y="157"/>
                          <a:pt x="64" y="155"/>
                          <a:pt x="64" y="153"/>
                        </a:cubicBezTo>
                        <a:cubicBezTo>
                          <a:pt x="63" y="149"/>
                          <a:pt x="61" y="145"/>
                          <a:pt x="61" y="141"/>
                        </a:cubicBezTo>
                        <a:cubicBezTo>
                          <a:pt x="61" y="142"/>
                          <a:pt x="62" y="142"/>
                          <a:pt x="62" y="143"/>
                        </a:cubicBezTo>
                        <a:cubicBezTo>
                          <a:pt x="62" y="143"/>
                          <a:pt x="63" y="144"/>
                          <a:pt x="63" y="144"/>
                        </a:cubicBezTo>
                        <a:cubicBezTo>
                          <a:pt x="63" y="145"/>
                          <a:pt x="64" y="146"/>
                          <a:pt x="64" y="147"/>
                        </a:cubicBezTo>
                        <a:cubicBezTo>
                          <a:pt x="64" y="148"/>
                          <a:pt x="65" y="150"/>
                          <a:pt x="65" y="151"/>
                        </a:cubicBezTo>
                        <a:cubicBezTo>
                          <a:pt x="66" y="152"/>
                          <a:pt x="65" y="153"/>
                          <a:pt x="66" y="154"/>
                        </a:cubicBezTo>
                        <a:cubicBezTo>
                          <a:pt x="66" y="156"/>
                          <a:pt x="68" y="155"/>
                          <a:pt x="68" y="157"/>
                        </a:cubicBezTo>
                        <a:cubicBezTo>
                          <a:pt x="68" y="158"/>
                          <a:pt x="67" y="159"/>
                          <a:pt x="67" y="159"/>
                        </a:cubicBezTo>
                        <a:cubicBezTo>
                          <a:pt x="66" y="161"/>
                          <a:pt x="66" y="162"/>
                          <a:pt x="66" y="163"/>
                        </a:cubicBezTo>
                        <a:cubicBezTo>
                          <a:pt x="66" y="165"/>
                          <a:pt x="68" y="165"/>
                          <a:pt x="69" y="165"/>
                        </a:cubicBezTo>
                        <a:cubicBezTo>
                          <a:pt x="71" y="165"/>
                          <a:pt x="72" y="166"/>
                          <a:pt x="74" y="166"/>
                        </a:cubicBezTo>
                        <a:cubicBezTo>
                          <a:pt x="74" y="164"/>
                          <a:pt x="73" y="163"/>
                          <a:pt x="71" y="162"/>
                        </a:cubicBezTo>
                        <a:cubicBezTo>
                          <a:pt x="71" y="163"/>
                          <a:pt x="71" y="163"/>
                          <a:pt x="71" y="163"/>
                        </a:cubicBezTo>
                        <a:cubicBezTo>
                          <a:pt x="71" y="163"/>
                          <a:pt x="70" y="163"/>
                          <a:pt x="69" y="163"/>
                        </a:cubicBezTo>
                        <a:cubicBezTo>
                          <a:pt x="69" y="161"/>
                          <a:pt x="69" y="158"/>
                          <a:pt x="69" y="155"/>
                        </a:cubicBezTo>
                        <a:cubicBezTo>
                          <a:pt x="69" y="154"/>
                          <a:pt x="68" y="154"/>
                          <a:pt x="68" y="152"/>
                        </a:cubicBezTo>
                        <a:cubicBezTo>
                          <a:pt x="68" y="151"/>
                          <a:pt x="68" y="150"/>
                          <a:pt x="68" y="149"/>
                        </a:cubicBezTo>
                        <a:cubicBezTo>
                          <a:pt x="68" y="147"/>
                          <a:pt x="67" y="147"/>
                          <a:pt x="66" y="146"/>
                        </a:cubicBezTo>
                        <a:cubicBezTo>
                          <a:pt x="65" y="145"/>
                          <a:pt x="65" y="144"/>
                          <a:pt x="64" y="143"/>
                        </a:cubicBezTo>
                        <a:cubicBezTo>
                          <a:pt x="63" y="142"/>
                          <a:pt x="62" y="141"/>
                          <a:pt x="61" y="140"/>
                        </a:cubicBezTo>
                        <a:cubicBezTo>
                          <a:pt x="60" y="139"/>
                          <a:pt x="60" y="138"/>
                          <a:pt x="60" y="136"/>
                        </a:cubicBezTo>
                        <a:cubicBezTo>
                          <a:pt x="60" y="136"/>
                          <a:pt x="60" y="135"/>
                          <a:pt x="59" y="134"/>
                        </a:cubicBezTo>
                        <a:cubicBezTo>
                          <a:pt x="60" y="134"/>
                          <a:pt x="60" y="134"/>
                          <a:pt x="60" y="134"/>
                        </a:cubicBezTo>
                        <a:cubicBezTo>
                          <a:pt x="60" y="133"/>
                          <a:pt x="60" y="131"/>
                          <a:pt x="61" y="132"/>
                        </a:cubicBezTo>
                        <a:cubicBezTo>
                          <a:pt x="61" y="132"/>
                          <a:pt x="61" y="132"/>
                          <a:pt x="61" y="132"/>
                        </a:cubicBezTo>
                        <a:cubicBezTo>
                          <a:pt x="62" y="132"/>
                          <a:pt x="62" y="134"/>
                          <a:pt x="63" y="133"/>
                        </a:cubicBezTo>
                        <a:cubicBezTo>
                          <a:pt x="62" y="134"/>
                          <a:pt x="61" y="129"/>
                          <a:pt x="60" y="128"/>
                        </a:cubicBezTo>
                        <a:cubicBezTo>
                          <a:pt x="60" y="129"/>
                          <a:pt x="61" y="130"/>
                          <a:pt x="61" y="131"/>
                        </a:cubicBezTo>
                        <a:cubicBezTo>
                          <a:pt x="60" y="131"/>
                          <a:pt x="59" y="130"/>
                          <a:pt x="58" y="131"/>
                        </a:cubicBezTo>
                        <a:cubicBezTo>
                          <a:pt x="58" y="130"/>
                          <a:pt x="58" y="128"/>
                          <a:pt x="58" y="127"/>
                        </a:cubicBezTo>
                        <a:cubicBezTo>
                          <a:pt x="57" y="126"/>
                          <a:pt x="57" y="126"/>
                          <a:pt x="57" y="126"/>
                        </a:cubicBezTo>
                        <a:cubicBezTo>
                          <a:pt x="57" y="125"/>
                          <a:pt x="57" y="125"/>
                          <a:pt x="57" y="125"/>
                        </a:cubicBezTo>
                        <a:cubicBezTo>
                          <a:pt x="57" y="124"/>
                          <a:pt x="57" y="123"/>
                          <a:pt x="57" y="123"/>
                        </a:cubicBezTo>
                        <a:cubicBezTo>
                          <a:pt x="57" y="122"/>
                          <a:pt x="56" y="122"/>
                          <a:pt x="56" y="121"/>
                        </a:cubicBezTo>
                        <a:cubicBezTo>
                          <a:pt x="56" y="120"/>
                          <a:pt x="56" y="120"/>
                          <a:pt x="55" y="119"/>
                        </a:cubicBezTo>
                        <a:cubicBezTo>
                          <a:pt x="55" y="118"/>
                          <a:pt x="54" y="117"/>
                          <a:pt x="54" y="115"/>
                        </a:cubicBezTo>
                        <a:cubicBezTo>
                          <a:pt x="55" y="115"/>
                          <a:pt x="55" y="115"/>
                          <a:pt x="55" y="115"/>
                        </a:cubicBezTo>
                        <a:cubicBezTo>
                          <a:pt x="55" y="117"/>
                          <a:pt x="55" y="117"/>
                          <a:pt x="57" y="117"/>
                        </a:cubicBezTo>
                        <a:cubicBezTo>
                          <a:pt x="56" y="117"/>
                          <a:pt x="56" y="115"/>
                          <a:pt x="55" y="115"/>
                        </a:cubicBezTo>
                        <a:cubicBezTo>
                          <a:pt x="55" y="114"/>
                          <a:pt x="54" y="114"/>
                          <a:pt x="54" y="115"/>
                        </a:cubicBezTo>
                        <a:cubicBezTo>
                          <a:pt x="52" y="115"/>
                          <a:pt x="52" y="113"/>
                          <a:pt x="52" y="113"/>
                        </a:cubicBezTo>
                        <a:cubicBezTo>
                          <a:pt x="52" y="112"/>
                          <a:pt x="52" y="111"/>
                          <a:pt x="51" y="111"/>
                        </a:cubicBezTo>
                        <a:cubicBezTo>
                          <a:pt x="51" y="110"/>
                          <a:pt x="50" y="108"/>
                          <a:pt x="49" y="108"/>
                        </a:cubicBezTo>
                        <a:cubicBezTo>
                          <a:pt x="49" y="107"/>
                          <a:pt x="49" y="107"/>
                          <a:pt x="49" y="106"/>
                        </a:cubicBezTo>
                        <a:cubicBezTo>
                          <a:pt x="49" y="106"/>
                          <a:pt x="50" y="106"/>
                          <a:pt x="51" y="106"/>
                        </a:cubicBezTo>
                        <a:cubicBezTo>
                          <a:pt x="51" y="106"/>
                          <a:pt x="50" y="105"/>
                          <a:pt x="50" y="104"/>
                        </a:cubicBezTo>
                        <a:cubicBezTo>
                          <a:pt x="51" y="104"/>
                          <a:pt x="51" y="104"/>
                          <a:pt x="51" y="103"/>
                        </a:cubicBezTo>
                        <a:cubicBezTo>
                          <a:pt x="51" y="102"/>
                          <a:pt x="50" y="102"/>
                          <a:pt x="50" y="102"/>
                        </a:cubicBezTo>
                        <a:cubicBezTo>
                          <a:pt x="49" y="102"/>
                          <a:pt x="49" y="102"/>
                          <a:pt x="49" y="102"/>
                        </a:cubicBezTo>
                        <a:cubicBezTo>
                          <a:pt x="49" y="102"/>
                          <a:pt x="49" y="103"/>
                          <a:pt x="49" y="103"/>
                        </a:cubicBezTo>
                        <a:cubicBezTo>
                          <a:pt x="49" y="103"/>
                          <a:pt x="49" y="103"/>
                          <a:pt x="49" y="103"/>
                        </a:cubicBezTo>
                        <a:cubicBezTo>
                          <a:pt x="48" y="104"/>
                          <a:pt x="48" y="105"/>
                          <a:pt x="48" y="105"/>
                        </a:cubicBezTo>
                        <a:cubicBezTo>
                          <a:pt x="48" y="105"/>
                          <a:pt x="48" y="103"/>
                          <a:pt x="48" y="102"/>
                        </a:cubicBezTo>
                        <a:cubicBezTo>
                          <a:pt x="48" y="101"/>
                          <a:pt x="47" y="100"/>
                          <a:pt x="47" y="99"/>
                        </a:cubicBezTo>
                        <a:cubicBezTo>
                          <a:pt x="47" y="98"/>
                          <a:pt x="47" y="96"/>
                          <a:pt x="47" y="95"/>
                        </a:cubicBezTo>
                        <a:cubicBezTo>
                          <a:pt x="46" y="94"/>
                          <a:pt x="46" y="93"/>
                          <a:pt x="45" y="92"/>
                        </a:cubicBezTo>
                        <a:cubicBezTo>
                          <a:pt x="45" y="91"/>
                          <a:pt x="45" y="90"/>
                          <a:pt x="45" y="89"/>
                        </a:cubicBezTo>
                        <a:cubicBezTo>
                          <a:pt x="45" y="88"/>
                          <a:pt x="45" y="87"/>
                          <a:pt x="44" y="86"/>
                        </a:cubicBezTo>
                        <a:cubicBezTo>
                          <a:pt x="44" y="85"/>
                          <a:pt x="43" y="83"/>
                          <a:pt x="43" y="83"/>
                        </a:cubicBezTo>
                        <a:cubicBezTo>
                          <a:pt x="43" y="81"/>
                          <a:pt x="45" y="82"/>
                          <a:pt x="45" y="80"/>
                        </a:cubicBezTo>
                        <a:cubicBezTo>
                          <a:pt x="44" y="80"/>
                          <a:pt x="43" y="80"/>
                          <a:pt x="43" y="81"/>
                        </a:cubicBezTo>
                        <a:cubicBezTo>
                          <a:pt x="42" y="81"/>
                          <a:pt x="42" y="81"/>
                          <a:pt x="42" y="81"/>
                        </a:cubicBezTo>
                        <a:cubicBezTo>
                          <a:pt x="42" y="79"/>
                          <a:pt x="41" y="78"/>
                          <a:pt x="41" y="77"/>
                        </a:cubicBezTo>
                        <a:cubicBezTo>
                          <a:pt x="41" y="76"/>
                          <a:pt x="41" y="75"/>
                          <a:pt x="41" y="75"/>
                        </a:cubicBezTo>
                        <a:cubicBezTo>
                          <a:pt x="41" y="74"/>
                          <a:pt x="40" y="74"/>
                          <a:pt x="40" y="73"/>
                        </a:cubicBezTo>
                        <a:cubicBezTo>
                          <a:pt x="41" y="73"/>
                          <a:pt x="42" y="73"/>
                          <a:pt x="43" y="73"/>
                        </a:cubicBezTo>
                        <a:cubicBezTo>
                          <a:pt x="43" y="72"/>
                          <a:pt x="40" y="73"/>
                          <a:pt x="39" y="72"/>
                        </a:cubicBezTo>
                        <a:cubicBezTo>
                          <a:pt x="39" y="72"/>
                          <a:pt x="39" y="71"/>
                          <a:pt x="38" y="70"/>
                        </a:cubicBezTo>
                        <a:cubicBezTo>
                          <a:pt x="38" y="70"/>
                          <a:pt x="37" y="69"/>
                          <a:pt x="37" y="69"/>
                        </a:cubicBezTo>
                        <a:cubicBezTo>
                          <a:pt x="36" y="68"/>
                          <a:pt x="37" y="68"/>
                          <a:pt x="35" y="68"/>
                        </a:cubicBezTo>
                        <a:cubicBezTo>
                          <a:pt x="35" y="68"/>
                          <a:pt x="34" y="67"/>
                          <a:pt x="34" y="67"/>
                        </a:cubicBezTo>
                        <a:cubicBezTo>
                          <a:pt x="34" y="66"/>
                          <a:pt x="34" y="65"/>
                          <a:pt x="34" y="65"/>
                        </a:cubicBezTo>
                        <a:cubicBezTo>
                          <a:pt x="34" y="64"/>
                          <a:pt x="33" y="63"/>
                          <a:pt x="33" y="62"/>
                        </a:cubicBezTo>
                        <a:cubicBezTo>
                          <a:pt x="33" y="62"/>
                          <a:pt x="34" y="62"/>
                          <a:pt x="35" y="62"/>
                        </a:cubicBezTo>
                        <a:cubicBezTo>
                          <a:pt x="35" y="62"/>
                          <a:pt x="35" y="62"/>
                          <a:pt x="35" y="62"/>
                        </a:cubicBezTo>
                        <a:cubicBezTo>
                          <a:pt x="33" y="62"/>
                          <a:pt x="33" y="60"/>
                          <a:pt x="33" y="60"/>
                        </a:cubicBezTo>
                        <a:cubicBezTo>
                          <a:pt x="32" y="58"/>
                          <a:pt x="33" y="58"/>
                          <a:pt x="32" y="56"/>
                        </a:cubicBezTo>
                        <a:cubicBezTo>
                          <a:pt x="32" y="55"/>
                          <a:pt x="30" y="54"/>
                          <a:pt x="30" y="54"/>
                        </a:cubicBezTo>
                        <a:cubicBezTo>
                          <a:pt x="29" y="53"/>
                          <a:pt x="28" y="52"/>
                          <a:pt x="28" y="51"/>
                        </a:cubicBezTo>
                        <a:cubicBezTo>
                          <a:pt x="27" y="51"/>
                          <a:pt x="26" y="50"/>
                          <a:pt x="26" y="50"/>
                        </a:cubicBezTo>
                        <a:cubicBezTo>
                          <a:pt x="25" y="49"/>
                          <a:pt x="24" y="49"/>
                          <a:pt x="22" y="48"/>
                        </a:cubicBezTo>
                        <a:cubicBezTo>
                          <a:pt x="21" y="47"/>
                          <a:pt x="22" y="47"/>
                          <a:pt x="21" y="45"/>
                        </a:cubicBezTo>
                        <a:cubicBezTo>
                          <a:pt x="21" y="45"/>
                          <a:pt x="19" y="44"/>
                          <a:pt x="20" y="43"/>
                        </a:cubicBezTo>
                        <a:cubicBezTo>
                          <a:pt x="20" y="43"/>
                          <a:pt x="21" y="43"/>
                          <a:pt x="22" y="43"/>
                        </a:cubicBezTo>
                        <a:cubicBezTo>
                          <a:pt x="21" y="43"/>
                          <a:pt x="17" y="40"/>
                          <a:pt x="17" y="40"/>
                        </a:cubicBezTo>
                        <a:cubicBezTo>
                          <a:pt x="18" y="40"/>
                          <a:pt x="18" y="39"/>
                          <a:pt x="18" y="39"/>
                        </a:cubicBezTo>
                        <a:cubicBezTo>
                          <a:pt x="18" y="38"/>
                          <a:pt x="16" y="39"/>
                          <a:pt x="16" y="39"/>
                        </a:cubicBezTo>
                        <a:cubicBezTo>
                          <a:pt x="15" y="39"/>
                          <a:pt x="15" y="38"/>
                          <a:pt x="14" y="38"/>
                        </a:cubicBezTo>
                        <a:cubicBezTo>
                          <a:pt x="14" y="38"/>
                          <a:pt x="14" y="39"/>
                          <a:pt x="13" y="38"/>
                        </a:cubicBezTo>
                        <a:cubicBezTo>
                          <a:pt x="13" y="37"/>
                          <a:pt x="13" y="35"/>
                          <a:pt x="13" y="34"/>
                        </a:cubicBezTo>
                        <a:cubicBezTo>
                          <a:pt x="13" y="33"/>
                          <a:pt x="12" y="32"/>
                          <a:pt x="12" y="31"/>
                        </a:cubicBezTo>
                        <a:cubicBezTo>
                          <a:pt x="10" y="28"/>
                          <a:pt x="10" y="25"/>
                          <a:pt x="9" y="23"/>
                        </a:cubicBezTo>
                        <a:cubicBezTo>
                          <a:pt x="8" y="20"/>
                          <a:pt x="7" y="17"/>
                          <a:pt x="6" y="14"/>
                        </a:cubicBezTo>
                        <a:cubicBezTo>
                          <a:pt x="6" y="10"/>
                          <a:pt x="4" y="7"/>
                          <a:pt x="2" y="5"/>
                        </a:cubicBezTo>
                        <a:cubicBezTo>
                          <a:pt x="1" y="3"/>
                          <a:pt x="1" y="2"/>
                          <a:pt x="0" y="1"/>
                        </a:cubicBezTo>
                        <a:cubicBezTo>
                          <a:pt x="1" y="1"/>
                          <a:pt x="2" y="1"/>
                          <a:pt x="3" y="1"/>
                        </a:cubicBezTo>
                        <a:cubicBezTo>
                          <a:pt x="5" y="1"/>
                          <a:pt x="5" y="0"/>
                          <a:pt x="7" y="0"/>
                        </a:cubicBezTo>
                        <a:cubicBezTo>
                          <a:pt x="8" y="0"/>
                          <a:pt x="7" y="3"/>
                          <a:pt x="7" y="3"/>
                        </a:cubicBezTo>
                        <a:cubicBezTo>
                          <a:pt x="9" y="3"/>
                          <a:pt x="11" y="5"/>
                          <a:pt x="9" y="5"/>
                        </a:cubicBezTo>
                        <a:cubicBezTo>
                          <a:pt x="9" y="6"/>
                          <a:pt x="10" y="7"/>
                          <a:pt x="11" y="7"/>
                        </a:cubicBezTo>
                        <a:cubicBezTo>
                          <a:pt x="11" y="5"/>
                          <a:pt x="12" y="5"/>
                          <a:pt x="14" y="6"/>
                        </a:cubicBezTo>
                        <a:cubicBezTo>
                          <a:pt x="17" y="8"/>
                          <a:pt x="14" y="8"/>
                          <a:pt x="15" y="9"/>
                        </a:cubicBezTo>
                        <a:cubicBezTo>
                          <a:pt x="16" y="10"/>
                          <a:pt x="17" y="10"/>
                          <a:pt x="18" y="10"/>
                        </a:cubicBezTo>
                        <a:cubicBezTo>
                          <a:pt x="18" y="10"/>
                          <a:pt x="18" y="11"/>
                          <a:pt x="18" y="12"/>
                        </a:cubicBezTo>
                        <a:cubicBezTo>
                          <a:pt x="18" y="11"/>
                          <a:pt x="20" y="9"/>
                          <a:pt x="21" y="9"/>
                        </a:cubicBezTo>
                        <a:cubicBezTo>
                          <a:pt x="21" y="11"/>
                          <a:pt x="21" y="12"/>
                          <a:pt x="20" y="13"/>
                        </a:cubicBezTo>
                        <a:cubicBezTo>
                          <a:pt x="22" y="13"/>
                          <a:pt x="23" y="15"/>
                          <a:pt x="23" y="16"/>
                        </a:cubicBezTo>
                        <a:cubicBezTo>
                          <a:pt x="25" y="16"/>
                          <a:pt x="25" y="16"/>
                          <a:pt x="25" y="16"/>
                        </a:cubicBezTo>
                        <a:cubicBezTo>
                          <a:pt x="25" y="15"/>
                          <a:pt x="28" y="15"/>
                          <a:pt x="27" y="16"/>
                        </a:cubicBezTo>
                        <a:cubicBezTo>
                          <a:pt x="27" y="18"/>
                          <a:pt x="25" y="18"/>
                          <a:pt x="25" y="19"/>
                        </a:cubicBezTo>
                        <a:cubicBezTo>
                          <a:pt x="25" y="21"/>
                          <a:pt x="26" y="21"/>
                          <a:pt x="26" y="23"/>
                        </a:cubicBezTo>
                        <a:cubicBezTo>
                          <a:pt x="26" y="26"/>
                          <a:pt x="27" y="25"/>
                          <a:pt x="30" y="26"/>
                        </a:cubicBezTo>
                        <a:cubicBezTo>
                          <a:pt x="32" y="26"/>
                          <a:pt x="34" y="31"/>
                          <a:pt x="34" y="33"/>
                        </a:cubicBezTo>
                        <a:cubicBezTo>
                          <a:pt x="37" y="33"/>
                          <a:pt x="38" y="35"/>
                          <a:pt x="40" y="36"/>
                        </a:cubicBezTo>
                        <a:cubicBezTo>
                          <a:pt x="41" y="38"/>
                          <a:pt x="46" y="37"/>
                          <a:pt x="47" y="39"/>
                        </a:cubicBezTo>
                        <a:cubicBezTo>
                          <a:pt x="47" y="42"/>
                          <a:pt x="48" y="43"/>
                          <a:pt x="51" y="45"/>
                        </a:cubicBezTo>
                        <a:cubicBezTo>
                          <a:pt x="52" y="45"/>
                          <a:pt x="54" y="45"/>
                          <a:pt x="55" y="45"/>
                        </a:cubicBezTo>
                        <a:cubicBezTo>
                          <a:pt x="57" y="45"/>
                          <a:pt x="59" y="44"/>
                          <a:pt x="61" y="44"/>
                        </a:cubicBezTo>
                        <a:cubicBezTo>
                          <a:pt x="61" y="45"/>
                          <a:pt x="61" y="47"/>
                          <a:pt x="61" y="48"/>
                        </a:cubicBezTo>
                        <a:cubicBezTo>
                          <a:pt x="62" y="48"/>
                          <a:pt x="65" y="48"/>
                          <a:pt x="66" y="49"/>
                        </a:cubicBezTo>
                        <a:cubicBezTo>
                          <a:pt x="66" y="50"/>
                          <a:pt x="67" y="52"/>
                          <a:pt x="67" y="52"/>
                        </a:cubicBezTo>
                        <a:cubicBezTo>
                          <a:pt x="67" y="52"/>
                          <a:pt x="67" y="52"/>
                          <a:pt x="67" y="52"/>
                        </a:cubicBezTo>
                        <a:cubicBezTo>
                          <a:pt x="69" y="51"/>
                          <a:pt x="70" y="54"/>
                          <a:pt x="72" y="55"/>
                        </a:cubicBezTo>
                        <a:cubicBezTo>
                          <a:pt x="74" y="55"/>
                          <a:pt x="77" y="55"/>
                          <a:pt x="77" y="57"/>
                        </a:cubicBezTo>
                        <a:cubicBezTo>
                          <a:pt x="77" y="57"/>
                          <a:pt x="78" y="58"/>
                          <a:pt x="78" y="59"/>
                        </a:cubicBezTo>
                        <a:cubicBezTo>
                          <a:pt x="78" y="59"/>
                          <a:pt x="78" y="59"/>
                          <a:pt x="78" y="59"/>
                        </a:cubicBezTo>
                        <a:cubicBezTo>
                          <a:pt x="77" y="59"/>
                          <a:pt x="77" y="59"/>
                          <a:pt x="77" y="59"/>
                        </a:cubicBezTo>
                        <a:cubicBezTo>
                          <a:pt x="77" y="63"/>
                          <a:pt x="73" y="61"/>
                          <a:pt x="73" y="64"/>
                        </a:cubicBezTo>
                        <a:cubicBezTo>
                          <a:pt x="70" y="64"/>
                          <a:pt x="69" y="63"/>
                          <a:pt x="67" y="62"/>
                        </a:cubicBezTo>
                        <a:cubicBezTo>
                          <a:pt x="67" y="65"/>
                          <a:pt x="67" y="67"/>
                          <a:pt x="67" y="70"/>
                        </a:cubicBezTo>
                        <a:cubicBezTo>
                          <a:pt x="69" y="70"/>
                          <a:pt x="71" y="69"/>
                          <a:pt x="72" y="71"/>
                        </a:cubicBezTo>
                        <a:cubicBezTo>
                          <a:pt x="73" y="72"/>
                          <a:pt x="75" y="71"/>
                          <a:pt x="76" y="72"/>
                        </a:cubicBezTo>
                        <a:cubicBezTo>
                          <a:pt x="77" y="73"/>
                          <a:pt x="78" y="74"/>
                          <a:pt x="79" y="75"/>
                        </a:cubicBezTo>
                        <a:cubicBezTo>
                          <a:pt x="80" y="75"/>
                          <a:pt x="82" y="75"/>
                          <a:pt x="82" y="77"/>
                        </a:cubicBezTo>
                        <a:cubicBezTo>
                          <a:pt x="80" y="77"/>
                          <a:pt x="77" y="82"/>
                          <a:pt x="77" y="83"/>
                        </a:cubicBezTo>
                        <a:cubicBezTo>
                          <a:pt x="76" y="83"/>
                          <a:pt x="76" y="83"/>
                          <a:pt x="76" y="83"/>
                        </a:cubicBezTo>
                        <a:cubicBezTo>
                          <a:pt x="80" y="84"/>
                          <a:pt x="85" y="82"/>
                          <a:pt x="89" y="84"/>
                        </a:cubicBezTo>
                        <a:cubicBezTo>
                          <a:pt x="92" y="85"/>
                          <a:pt x="91" y="90"/>
                          <a:pt x="90" y="92"/>
                        </a:cubicBezTo>
                        <a:cubicBezTo>
                          <a:pt x="90" y="92"/>
                          <a:pt x="89" y="92"/>
                          <a:pt x="88" y="92"/>
                        </a:cubicBezTo>
                        <a:cubicBezTo>
                          <a:pt x="87" y="94"/>
                          <a:pt x="88" y="96"/>
                          <a:pt x="87" y="98"/>
                        </a:cubicBezTo>
                        <a:cubicBezTo>
                          <a:pt x="89" y="98"/>
                          <a:pt x="95" y="101"/>
                          <a:pt x="96" y="102"/>
                        </a:cubicBezTo>
                        <a:cubicBezTo>
                          <a:pt x="98" y="104"/>
                          <a:pt x="98" y="108"/>
                          <a:pt x="97" y="110"/>
                        </a:cubicBezTo>
                        <a:cubicBezTo>
                          <a:pt x="95" y="112"/>
                          <a:pt x="96" y="115"/>
                          <a:pt x="95" y="118"/>
                        </a:cubicBezTo>
                        <a:cubicBezTo>
                          <a:pt x="94" y="120"/>
                          <a:pt x="94" y="122"/>
                          <a:pt x="95" y="125"/>
                        </a:cubicBezTo>
                        <a:cubicBezTo>
                          <a:pt x="95" y="127"/>
                          <a:pt x="95" y="130"/>
                          <a:pt x="97" y="131"/>
                        </a:cubicBezTo>
                        <a:cubicBezTo>
                          <a:pt x="98" y="132"/>
                          <a:pt x="100" y="131"/>
                          <a:pt x="101" y="134"/>
                        </a:cubicBezTo>
                        <a:cubicBezTo>
                          <a:pt x="101" y="134"/>
                          <a:pt x="102" y="134"/>
                          <a:pt x="102" y="133"/>
                        </a:cubicBezTo>
                        <a:cubicBezTo>
                          <a:pt x="102" y="130"/>
                          <a:pt x="106" y="131"/>
                          <a:pt x="108" y="129"/>
                        </a:cubicBezTo>
                        <a:cubicBezTo>
                          <a:pt x="109" y="127"/>
                          <a:pt x="112" y="127"/>
                          <a:pt x="114" y="128"/>
                        </a:cubicBezTo>
                        <a:cubicBezTo>
                          <a:pt x="117" y="129"/>
                          <a:pt x="118" y="139"/>
                          <a:pt x="113" y="138"/>
                        </a:cubicBezTo>
                        <a:cubicBezTo>
                          <a:pt x="113" y="140"/>
                          <a:pt x="114" y="140"/>
                          <a:pt x="114" y="141"/>
                        </a:cubicBezTo>
                        <a:cubicBezTo>
                          <a:pt x="121" y="143"/>
                          <a:pt x="113" y="148"/>
                          <a:pt x="113" y="152"/>
                        </a:cubicBezTo>
                        <a:cubicBezTo>
                          <a:pt x="114" y="152"/>
                          <a:pt x="114" y="152"/>
                          <a:pt x="114" y="152"/>
                        </a:cubicBezTo>
                        <a:cubicBezTo>
                          <a:pt x="114" y="153"/>
                          <a:pt x="114" y="154"/>
                          <a:pt x="114" y="155"/>
                        </a:cubicBezTo>
                        <a:cubicBezTo>
                          <a:pt x="110" y="156"/>
                          <a:pt x="113" y="163"/>
                          <a:pt x="110" y="163"/>
                        </a:cubicBezTo>
                        <a:cubicBezTo>
                          <a:pt x="112" y="163"/>
                          <a:pt x="113" y="166"/>
                          <a:pt x="116" y="166"/>
                        </a:cubicBezTo>
                        <a:cubicBezTo>
                          <a:pt x="117" y="165"/>
                          <a:pt x="117" y="164"/>
                          <a:pt x="119" y="164"/>
                        </a:cubicBezTo>
                        <a:cubicBezTo>
                          <a:pt x="119" y="167"/>
                          <a:pt x="123" y="168"/>
                          <a:pt x="120" y="170"/>
                        </a:cubicBezTo>
                        <a:cubicBezTo>
                          <a:pt x="118" y="171"/>
                          <a:pt x="117" y="176"/>
                          <a:pt x="117" y="178"/>
                        </a:cubicBezTo>
                        <a:cubicBezTo>
                          <a:pt x="113" y="177"/>
                          <a:pt x="114" y="186"/>
                          <a:pt x="112" y="189"/>
                        </a:cubicBezTo>
                        <a:cubicBezTo>
                          <a:pt x="111" y="191"/>
                          <a:pt x="108" y="190"/>
                          <a:pt x="109" y="192"/>
                        </a:cubicBezTo>
                        <a:cubicBezTo>
                          <a:pt x="109" y="194"/>
                          <a:pt x="111" y="198"/>
                          <a:pt x="113" y="198"/>
                        </a:cubicBezTo>
                        <a:cubicBezTo>
                          <a:pt x="113" y="200"/>
                          <a:pt x="113" y="202"/>
                          <a:pt x="113" y="203"/>
                        </a:cubicBezTo>
                        <a:cubicBezTo>
                          <a:pt x="111" y="203"/>
                          <a:pt x="109" y="206"/>
                          <a:pt x="109" y="207"/>
                        </a:cubicBezTo>
                        <a:cubicBezTo>
                          <a:pt x="108" y="209"/>
                          <a:pt x="111" y="211"/>
                          <a:pt x="111" y="213"/>
                        </a:cubicBezTo>
                        <a:cubicBezTo>
                          <a:pt x="111" y="213"/>
                          <a:pt x="111" y="213"/>
                          <a:pt x="111" y="213"/>
                        </a:cubicBezTo>
                        <a:cubicBezTo>
                          <a:pt x="112" y="216"/>
                          <a:pt x="114" y="220"/>
                          <a:pt x="109" y="218"/>
                        </a:cubicBezTo>
                        <a:cubicBezTo>
                          <a:pt x="109" y="219"/>
                          <a:pt x="109" y="220"/>
                          <a:pt x="109" y="221"/>
                        </a:cubicBezTo>
                        <a:cubicBezTo>
                          <a:pt x="108" y="221"/>
                          <a:pt x="108" y="221"/>
                          <a:pt x="108" y="221"/>
                        </a:cubicBezTo>
                        <a:cubicBezTo>
                          <a:pt x="108" y="223"/>
                          <a:pt x="108" y="225"/>
                          <a:pt x="108" y="226"/>
                        </a:cubicBezTo>
                        <a:cubicBezTo>
                          <a:pt x="106" y="226"/>
                          <a:pt x="106" y="226"/>
                          <a:pt x="106" y="226"/>
                        </a:cubicBezTo>
                        <a:cubicBezTo>
                          <a:pt x="106" y="227"/>
                          <a:pt x="104" y="228"/>
                          <a:pt x="102" y="228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8" name="Freeform 437">
                    <a:extLst>
                      <a:ext uri="{FF2B5EF4-FFF2-40B4-BE49-F238E27FC236}">
                        <a16:creationId xmlns:a16="http://schemas.microsoft.com/office/drawing/2014/main" xmlns="" id="{35D4E72C-5B05-4D18-A779-E6ADB5CB5A3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92438" y="4787901"/>
                    <a:ext cx="123825" cy="158750"/>
                  </a:xfrm>
                  <a:custGeom>
                    <a:avLst/>
                    <a:gdLst>
                      <a:gd name="T0" fmla="*/ 19 w 35"/>
                      <a:gd name="T1" fmla="*/ 45 h 45"/>
                      <a:gd name="T2" fmla="*/ 18 w 35"/>
                      <a:gd name="T3" fmla="*/ 41 h 45"/>
                      <a:gd name="T4" fmla="*/ 15 w 35"/>
                      <a:gd name="T5" fmla="*/ 37 h 45"/>
                      <a:gd name="T6" fmla="*/ 13 w 35"/>
                      <a:gd name="T7" fmla="*/ 34 h 45"/>
                      <a:gd name="T8" fmla="*/ 14 w 35"/>
                      <a:gd name="T9" fmla="*/ 33 h 45"/>
                      <a:gd name="T10" fmla="*/ 9 w 35"/>
                      <a:gd name="T11" fmla="*/ 21 h 45"/>
                      <a:gd name="T12" fmla="*/ 14 w 35"/>
                      <a:gd name="T13" fmla="*/ 21 h 45"/>
                      <a:gd name="T14" fmla="*/ 8 w 35"/>
                      <a:gd name="T15" fmla="*/ 20 h 45"/>
                      <a:gd name="T16" fmla="*/ 12 w 35"/>
                      <a:gd name="T17" fmla="*/ 17 h 45"/>
                      <a:gd name="T18" fmla="*/ 6 w 35"/>
                      <a:gd name="T19" fmla="*/ 15 h 45"/>
                      <a:gd name="T20" fmla="*/ 3 w 35"/>
                      <a:gd name="T21" fmla="*/ 10 h 45"/>
                      <a:gd name="T22" fmla="*/ 0 w 35"/>
                      <a:gd name="T23" fmla="*/ 2 h 45"/>
                      <a:gd name="T24" fmla="*/ 7 w 35"/>
                      <a:gd name="T25" fmla="*/ 2 h 45"/>
                      <a:gd name="T26" fmla="*/ 12 w 35"/>
                      <a:gd name="T27" fmla="*/ 0 h 45"/>
                      <a:gd name="T28" fmla="*/ 16 w 35"/>
                      <a:gd name="T29" fmla="*/ 9 h 45"/>
                      <a:gd name="T30" fmla="*/ 26 w 35"/>
                      <a:gd name="T31" fmla="*/ 11 h 45"/>
                      <a:gd name="T32" fmla="*/ 26 w 35"/>
                      <a:gd name="T33" fmla="*/ 11 h 45"/>
                      <a:gd name="T34" fmla="*/ 27 w 35"/>
                      <a:gd name="T35" fmla="*/ 11 h 45"/>
                      <a:gd name="T36" fmla="*/ 29 w 35"/>
                      <a:gd name="T37" fmla="*/ 11 h 45"/>
                      <a:gd name="T38" fmla="*/ 31 w 35"/>
                      <a:gd name="T39" fmla="*/ 13 h 45"/>
                      <a:gd name="T40" fmla="*/ 32 w 35"/>
                      <a:gd name="T41" fmla="*/ 18 h 45"/>
                      <a:gd name="T42" fmla="*/ 31 w 35"/>
                      <a:gd name="T43" fmla="*/ 25 h 45"/>
                      <a:gd name="T44" fmla="*/ 34 w 35"/>
                      <a:gd name="T45" fmla="*/ 29 h 45"/>
                      <a:gd name="T46" fmla="*/ 33 w 35"/>
                      <a:gd name="T47" fmla="*/ 30 h 45"/>
                      <a:gd name="T48" fmla="*/ 30 w 35"/>
                      <a:gd name="T49" fmla="*/ 31 h 45"/>
                      <a:gd name="T50" fmla="*/ 32 w 35"/>
                      <a:gd name="T51" fmla="*/ 35 h 45"/>
                      <a:gd name="T52" fmla="*/ 32 w 35"/>
                      <a:gd name="T53" fmla="*/ 35 h 45"/>
                      <a:gd name="T54" fmla="*/ 30 w 35"/>
                      <a:gd name="T55" fmla="*/ 41 h 45"/>
                      <a:gd name="T56" fmla="*/ 29 w 35"/>
                      <a:gd name="T57" fmla="*/ 45 h 45"/>
                      <a:gd name="T58" fmla="*/ 25 w 35"/>
                      <a:gd name="T59" fmla="*/ 43 h 45"/>
                      <a:gd name="T60" fmla="*/ 25 w 35"/>
                      <a:gd name="T61" fmla="*/ 45 h 45"/>
                      <a:gd name="T62" fmla="*/ 19 w 35"/>
                      <a:gd name="T63" fmla="*/ 45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35" h="45">
                        <a:moveTo>
                          <a:pt x="19" y="45"/>
                        </a:moveTo>
                        <a:cubicBezTo>
                          <a:pt x="18" y="44"/>
                          <a:pt x="19" y="43"/>
                          <a:pt x="18" y="41"/>
                        </a:cubicBezTo>
                        <a:cubicBezTo>
                          <a:pt x="17" y="40"/>
                          <a:pt x="16" y="38"/>
                          <a:pt x="15" y="37"/>
                        </a:cubicBezTo>
                        <a:cubicBezTo>
                          <a:pt x="15" y="36"/>
                          <a:pt x="13" y="35"/>
                          <a:pt x="13" y="34"/>
                        </a:cubicBezTo>
                        <a:cubicBezTo>
                          <a:pt x="14" y="33"/>
                          <a:pt x="14" y="33"/>
                          <a:pt x="14" y="33"/>
                        </a:cubicBezTo>
                        <a:cubicBezTo>
                          <a:pt x="14" y="29"/>
                          <a:pt x="11" y="25"/>
                          <a:pt x="9" y="21"/>
                        </a:cubicBezTo>
                        <a:cubicBezTo>
                          <a:pt x="10" y="20"/>
                          <a:pt x="12" y="21"/>
                          <a:pt x="14" y="21"/>
                        </a:cubicBezTo>
                        <a:cubicBezTo>
                          <a:pt x="13" y="19"/>
                          <a:pt x="10" y="21"/>
                          <a:pt x="8" y="20"/>
                        </a:cubicBezTo>
                        <a:cubicBezTo>
                          <a:pt x="6" y="17"/>
                          <a:pt x="10" y="17"/>
                          <a:pt x="12" y="17"/>
                        </a:cubicBezTo>
                        <a:cubicBezTo>
                          <a:pt x="11" y="17"/>
                          <a:pt x="6" y="16"/>
                          <a:pt x="6" y="15"/>
                        </a:cubicBezTo>
                        <a:cubicBezTo>
                          <a:pt x="4" y="14"/>
                          <a:pt x="4" y="12"/>
                          <a:pt x="3" y="10"/>
                        </a:cubicBezTo>
                        <a:cubicBezTo>
                          <a:pt x="2" y="7"/>
                          <a:pt x="1" y="5"/>
                          <a:pt x="0" y="2"/>
                        </a:cubicBezTo>
                        <a:cubicBezTo>
                          <a:pt x="2" y="2"/>
                          <a:pt x="5" y="2"/>
                          <a:pt x="7" y="2"/>
                        </a:cubicBezTo>
                        <a:cubicBezTo>
                          <a:pt x="8" y="0"/>
                          <a:pt x="10" y="0"/>
                          <a:pt x="12" y="0"/>
                        </a:cubicBezTo>
                        <a:cubicBezTo>
                          <a:pt x="13" y="4"/>
                          <a:pt x="16" y="5"/>
                          <a:pt x="16" y="9"/>
                        </a:cubicBezTo>
                        <a:cubicBezTo>
                          <a:pt x="19" y="10"/>
                          <a:pt x="23" y="11"/>
                          <a:pt x="26" y="11"/>
                        </a:cubicBezTo>
                        <a:cubicBezTo>
                          <a:pt x="26" y="11"/>
                          <a:pt x="26" y="11"/>
                          <a:pt x="26" y="11"/>
                        </a:cubicBezTo>
                        <a:cubicBezTo>
                          <a:pt x="27" y="11"/>
                          <a:pt x="27" y="11"/>
                          <a:pt x="27" y="11"/>
                        </a:cubicBezTo>
                        <a:cubicBezTo>
                          <a:pt x="29" y="11"/>
                          <a:pt x="29" y="11"/>
                          <a:pt x="29" y="11"/>
                        </a:cubicBezTo>
                        <a:cubicBezTo>
                          <a:pt x="29" y="12"/>
                          <a:pt x="30" y="12"/>
                          <a:pt x="31" y="13"/>
                        </a:cubicBezTo>
                        <a:cubicBezTo>
                          <a:pt x="32" y="14"/>
                          <a:pt x="35" y="17"/>
                          <a:pt x="32" y="18"/>
                        </a:cubicBezTo>
                        <a:cubicBezTo>
                          <a:pt x="33" y="20"/>
                          <a:pt x="31" y="23"/>
                          <a:pt x="31" y="25"/>
                        </a:cubicBezTo>
                        <a:cubicBezTo>
                          <a:pt x="33" y="25"/>
                          <a:pt x="35" y="27"/>
                          <a:pt x="34" y="29"/>
                        </a:cubicBezTo>
                        <a:cubicBezTo>
                          <a:pt x="34" y="29"/>
                          <a:pt x="33" y="29"/>
                          <a:pt x="33" y="30"/>
                        </a:cubicBezTo>
                        <a:cubicBezTo>
                          <a:pt x="33" y="31"/>
                          <a:pt x="30" y="31"/>
                          <a:pt x="30" y="31"/>
                        </a:cubicBezTo>
                        <a:cubicBezTo>
                          <a:pt x="29" y="33"/>
                          <a:pt x="33" y="32"/>
                          <a:pt x="32" y="35"/>
                        </a:cubicBezTo>
                        <a:cubicBezTo>
                          <a:pt x="32" y="35"/>
                          <a:pt x="32" y="35"/>
                          <a:pt x="32" y="35"/>
                        </a:cubicBezTo>
                        <a:cubicBezTo>
                          <a:pt x="31" y="37"/>
                          <a:pt x="32" y="40"/>
                          <a:pt x="30" y="41"/>
                        </a:cubicBezTo>
                        <a:cubicBezTo>
                          <a:pt x="29" y="42"/>
                          <a:pt x="29" y="43"/>
                          <a:pt x="29" y="45"/>
                        </a:cubicBezTo>
                        <a:cubicBezTo>
                          <a:pt x="27" y="45"/>
                          <a:pt x="26" y="43"/>
                          <a:pt x="25" y="43"/>
                        </a:cubicBezTo>
                        <a:cubicBezTo>
                          <a:pt x="25" y="44"/>
                          <a:pt x="25" y="45"/>
                          <a:pt x="25" y="45"/>
                        </a:cubicBezTo>
                        <a:cubicBezTo>
                          <a:pt x="23" y="45"/>
                          <a:pt x="21" y="45"/>
                          <a:pt x="19" y="45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9" name="Freeform 438">
                    <a:extLst>
                      <a:ext uri="{FF2B5EF4-FFF2-40B4-BE49-F238E27FC236}">
                        <a16:creationId xmlns:a16="http://schemas.microsoft.com/office/drawing/2014/main" xmlns="" id="{066885B6-4618-4F9D-A140-07B43F3C92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48026" y="1955801"/>
                    <a:ext cx="476250" cy="512763"/>
                  </a:xfrm>
                  <a:custGeom>
                    <a:avLst/>
                    <a:gdLst>
                      <a:gd name="T0" fmla="*/ 129 w 135"/>
                      <a:gd name="T1" fmla="*/ 89 h 145"/>
                      <a:gd name="T2" fmla="*/ 127 w 135"/>
                      <a:gd name="T3" fmla="*/ 85 h 145"/>
                      <a:gd name="T4" fmla="*/ 131 w 135"/>
                      <a:gd name="T5" fmla="*/ 83 h 145"/>
                      <a:gd name="T6" fmla="*/ 129 w 135"/>
                      <a:gd name="T7" fmla="*/ 76 h 145"/>
                      <a:gd name="T8" fmla="*/ 121 w 135"/>
                      <a:gd name="T9" fmla="*/ 62 h 145"/>
                      <a:gd name="T10" fmla="*/ 113 w 135"/>
                      <a:gd name="T11" fmla="*/ 54 h 145"/>
                      <a:gd name="T12" fmla="*/ 102 w 135"/>
                      <a:gd name="T13" fmla="*/ 49 h 145"/>
                      <a:gd name="T14" fmla="*/ 91 w 135"/>
                      <a:gd name="T15" fmla="*/ 25 h 145"/>
                      <a:gd name="T16" fmla="*/ 82 w 135"/>
                      <a:gd name="T17" fmla="*/ 20 h 145"/>
                      <a:gd name="T18" fmla="*/ 90 w 135"/>
                      <a:gd name="T19" fmla="*/ 9 h 145"/>
                      <a:gd name="T20" fmla="*/ 91 w 135"/>
                      <a:gd name="T21" fmla="*/ 0 h 145"/>
                      <a:gd name="T22" fmla="*/ 87 w 135"/>
                      <a:gd name="T23" fmla="*/ 4 h 145"/>
                      <a:gd name="T24" fmla="*/ 75 w 135"/>
                      <a:gd name="T25" fmla="*/ 6 h 145"/>
                      <a:gd name="T26" fmla="*/ 72 w 135"/>
                      <a:gd name="T27" fmla="*/ 6 h 145"/>
                      <a:gd name="T28" fmla="*/ 67 w 135"/>
                      <a:gd name="T29" fmla="*/ 20 h 145"/>
                      <a:gd name="T30" fmla="*/ 49 w 135"/>
                      <a:gd name="T31" fmla="*/ 23 h 145"/>
                      <a:gd name="T32" fmla="*/ 38 w 135"/>
                      <a:gd name="T33" fmla="*/ 32 h 145"/>
                      <a:gd name="T34" fmla="*/ 38 w 135"/>
                      <a:gd name="T35" fmla="*/ 45 h 145"/>
                      <a:gd name="T36" fmla="*/ 38 w 135"/>
                      <a:gd name="T37" fmla="*/ 50 h 145"/>
                      <a:gd name="T38" fmla="*/ 35 w 135"/>
                      <a:gd name="T39" fmla="*/ 63 h 145"/>
                      <a:gd name="T40" fmla="*/ 40 w 135"/>
                      <a:gd name="T41" fmla="*/ 62 h 145"/>
                      <a:gd name="T42" fmla="*/ 36 w 135"/>
                      <a:gd name="T43" fmla="*/ 66 h 145"/>
                      <a:gd name="T44" fmla="*/ 31 w 135"/>
                      <a:gd name="T45" fmla="*/ 70 h 145"/>
                      <a:gd name="T46" fmla="*/ 21 w 135"/>
                      <a:gd name="T47" fmla="*/ 80 h 145"/>
                      <a:gd name="T48" fmla="*/ 13 w 135"/>
                      <a:gd name="T49" fmla="*/ 88 h 145"/>
                      <a:gd name="T50" fmla="*/ 4 w 135"/>
                      <a:gd name="T51" fmla="*/ 93 h 145"/>
                      <a:gd name="T52" fmla="*/ 5 w 135"/>
                      <a:gd name="T53" fmla="*/ 100 h 145"/>
                      <a:gd name="T54" fmla="*/ 0 w 135"/>
                      <a:gd name="T55" fmla="*/ 111 h 145"/>
                      <a:gd name="T56" fmla="*/ 16 w 135"/>
                      <a:gd name="T57" fmla="*/ 120 h 145"/>
                      <a:gd name="T58" fmla="*/ 36 w 135"/>
                      <a:gd name="T59" fmla="*/ 121 h 145"/>
                      <a:gd name="T60" fmla="*/ 57 w 135"/>
                      <a:gd name="T61" fmla="*/ 131 h 145"/>
                      <a:gd name="T62" fmla="*/ 55 w 135"/>
                      <a:gd name="T63" fmla="*/ 139 h 145"/>
                      <a:gd name="T64" fmla="*/ 62 w 135"/>
                      <a:gd name="T65" fmla="*/ 142 h 145"/>
                      <a:gd name="T66" fmla="*/ 80 w 135"/>
                      <a:gd name="T67" fmla="*/ 134 h 145"/>
                      <a:gd name="T68" fmla="*/ 97 w 135"/>
                      <a:gd name="T69" fmla="*/ 135 h 145"/>
                      <a:gd name="T70" fmla="*/ 100 w 135"/>
                      <a:gd name="T71" fmla="*/ 132 h 145"/>
                      <a:gd name="T72" fmla="*/ 103 w 135"/>
                      <a:gd name="T73" fmla="*/ 125 h 145"/>
                      <a:gd name="T74" fmla="*/ 112 w 135"/>
                      <a:gd name="T75" fmla="*/ 116 h 145"/>
                      <a:gd name="T76" fmla="*/ 119 w 135"/>
                      <a:gd name="T77" fmla="*/ 118 h 145"/>
                      <a:gd name="T78" fmla="*/ 119 w 135"/>
                      <a:gd name="T79" fmla="*/ 111 h 145"/>
                      <a:gd name="T80" fmla="*/ 126 w 135"/>
                      <a:gd name="T81" fmla="*/ 105 h 145"/>
                      <a:gd name="T82" fmla="*/ 131 w 135"/>
                      <a:gd name="T83" fmla="*/ 103 h 145"/>
                      <a:gd name="T84" fmla="*/ 134 w 135"/>
                      <a:gd name="T85" fmla="*/ 94 h 1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135" h="145">
                        <a:moveTo>
                          <a:pt x="134" y="94"/>
                        </a:moveTo>
                        <a:cubicBezTo>
                          <a:pt x="132" y="92"/>
                          <a:pt x="130" y="93"/>
                          <a:pt x="129" y="90"/>
                        </a:cubicBezTo>
                        <a:cubicBezTo>
                          <a:pt x="129" y="89"/>
                          <a:pt x="129" y="89"/>
                          <a:pt x="129" y="89"/>
                        </a:cubicBezTo>
                        <a:cubicBezTo>
                          <a:pt x="129" y="89"/>
                          <a:pt x="128" y="89"/>
                          <a:pt x="128" y="89"/>
                        </a:cubicBezTo>
                        <a:cubicBezTo>
                          <a:pt x="127" y="87"/>
                          <a:pt x="127" y="87"/>
                          <a:pt x="127" y="87"/>
                        </a:cubicBezTo>
                        <a:cubicBezTo>
                          <a:pt x="126" y="87"/>
                          <a:pt x="127" y="86"/>
                          <a:pt x="127" y="85"/>
                        </a:cubicBezTo>
                        <a:cubicBezTo>
                          <a:pt x="126" y="85"/>
                          <a:pt x="125" y="84"/>
                          <a:pt x="126" y="83"/>
                        </a:cubicBezTo>
                        <a:cubicBezTo>
                          <a:pt x="126" y="82"/>
                          <a:pt x="128" y="83"/>
                          <a:pt x="130" y="83"/>
                        </a:cubicBezTo>
                        <a:cubicBezTo>
                          <a:pt x="130" y="83"/>
                          <a:pt x="130" y="83"/>
                          <a:pt x="131" y="83"/>
                        </a:cubicBezTo>
                        <a:cubicBezTo>
                          <a:pt x="131" y="82"/>
                          <a:pt x="131" y="82"/>
                          <a:pt x="131" y="82"/>
                        </a:cubicBezTo>
                        <a:cubicBezTo>
                          <a:pt x="131" y="81"/>
                          <a:pt x="130" y="80"/>
                          <a:pt x="129" y="79"/>
                        </a:cubicBezTo>
                        <a:cubicBezTo>
                          <a:pt x="129" y="78"/>
                          <a:pt x="129" y="77"/>
                          <a:pt x="129" y="76"/>
                        </a:cubicBezTo>
                        <a:cubicBezTo>
                          <a:pt x="127" y="75"/>
                          <a:pt x="123" y="75"/>
                          <a:pt x="121" y="72"/>
                        </a:cubicBezTo>
                        <a:cubicBezTo>
                          <a:pt x="120" y="70"/>
                          <a:pt x="121" y="69"/>
                          <a:pt x="122" y="67"/>
                        </a:cubicBezTo>
                        <a:cubicBezTo>
                          <a:pt x="122" y="66"/>
                          <a:pt x="121" y="63"/>
                          <a:pt x="121" y="62"/>
                        </a:cubicBezTo>
                        <a:cubicBezTo>
                          <a:pt x="121" y="61"/>
                          <a:pt x="121" y="61"/>
                          <a:pt x="121" y="61"/>
                        </a:cubicBezTo>
                        <a:cubicBezTo>
                          <a:pt x="121" y="58"/>
                          <a:pt x="119" y="60"/>
                          <a:pt x="117" y="59"/>
                        </a:cubicBezTo>
                        <a:cubicBezTo>
                          <a:pt x="115" y="59"/>
                          <a:pt x="114" y="55"/>
                          <a:pt x="113" y="54"/>
                        </a:cubicBezTo>
                        <a:cubicBezTo>
                          <a:pt x="111" y="51"/>
                          <a:pt x="110" y="51"/>
                          <a:pt x="109" y="54"/>
                        </a:cubicBezTo>
                        <a:cubicBezTo>
                          <a:pt x="109" y="57"/>
                          <a:pt x="105" y="56"/>
                          <a:pt x="102" y="56"/>
                        </a:cubicBezTo>
                        <a:cubicBezTo>
                          <a:pt x="102" y="54"/>
                          <a:pt x="103" y="51"/>
                          <a:pt x="102" y="49"/>
                        </a:cubicBezTo>
                        <a:cubicBezTo>
                          <a:pt x="101" y="47"/>
                          <a:pt x="100" y="45"/>
                          <a:pt x="98" y="43"/>
                        </a:cubicBezTo>
                        <a:cubicBezTo>
                          <a:pt x="97" y="42"/>
                          <a:pt x="89" y="32"/>
                          <a:pt x="96" y="33"/>
                        </a:cubicBezTo>
                        <a:cubicBezTo>
                          <a:pt x="96" y="32"/>
                          <a:pt x="92" y="26"/>
                          <a:pt x="91" y="25"/>
                        </a:cubicBezTo>
                        <a:cubicBezTo>
                          <a:pt x="90" y="24"/>
                          <a:pt x="87" y="23"/>
                          <a:pt x="85" y="22"/>
                        </a:cubicBezTo>
                        <a:cubicBezTo>
                          <a:pt x="83" y="21"/>
                          <a:pt x="81" y="22"/>
                          <a:pt x="79" y="21"/>
                        </a:cubicBezTo>
                        <a:cubicBezTo>
                          <a:pt x="80" y="20"/>
                          <a:pt x="81" y="20"/>
                          <a:pt x="82" y="20"/>
                        </a:cubicBezTo>
                        <a:cubicBezTo>
                          <a:pt x="84" y="19"/>
                          <a:pt x="83" y="17"/>
                          <a:pt x="83" y="15"/>
                        </a:cubicBezTo>
                        <a:cubicBezTo>
                          <a:pt x="82" y="12"/>
                          <a:pt x="86" y="13"/>
                          <a:pt x="88" y="13"/>
                        </a:cubicBezTo>
                        <a:cubicBezTo>
                          <a:pt x="90" y="9"/>
                          <a:pt x="90" y="9"/>
                          <a:pt x="90" y="9"/>
                        </a:cubicBezTo>
                        <a:cubicBezTo>
                          <a:pt x="91" y="7"/>
                          <a:pt x="93" y="7"/>
                          <a:pt x="95" y="7"/>
                        </a:cubicBezTo>
                        <a:cubicBezTo>
                          <a:pt x="95" y="5"/>
                          <a:pt x="93" y="4"/>
                          <a:pt x="92" y="2"/>
                        </a:cubicBezTo>
                        <a:cubicBezTo>
                          <a:pt x="91" y="2"/>
                          <a:pt x="91" y="1"/>
                          <a:pt x="91" y="0"/>
                        </a:cubicBezTo>
                        <a:cubicBezTo>
                          <a:pt x="91" y="0"/>
                          <a:pt x="91" y="0"/>
                          <a:pt x="91" y="0"/>
                        </a:cubicBezTo>
                        <a:cubicBezTo>
                          <a:pt x="90" y="0"/>
                          <a:pt x="90" y="0"/>
                          <a:pt x="89" y="2"/>
                        </a:cubicBezTo>
                        <a:cubicBezTo>
                          <a:pt x="89" y="3"/>
                          <a:pt x="89" y="4"/>
                          <a:pt x="87" y="4"/>
                        </a:cubicBezTo>
                        <a:cubicBezTo>
                          <a:pt x="85" y="4"/>
                          <a:pt x="84" y="4"/>
                          <a:pt x="82" y="4"/>
                        </a:cubicBezTo>
                        <a:cubicBezTo>
                          <a:pt x="82" y="6"/>
                          <a:pt x="80" y="5"/>
                          <a:pt x="80" y="7"/>
                        </a:cubicBezTo>
                        <a:cubicBezTo>
                          <a:pt x="78" y="8"/>
                          <a:pt x="77" y="7"/>
                          <a:pt x="75" y="6"/>
                        </a:cubicBezTo>
                        <a:cubicBezTo>
                          <a:pt x="74" y="6"/>
                          <a:pt x="73" y="6"/>
                          <a:pt x="72" y="6"/>
                        </a:cubicBezTo>
                        <a:cubicBezTo>
                          <a:pt x="72" y="6"/>
                          <a:pt x="72" y="6"/>
                          <a:pt x="72" y="6"/>
                        </a:cubicBezTo>
                        <a:cubicBezTo>
                          <a:pt x="72" y="6"/>
                          <a:pt x="72" y="6"/>
                          <a:pt x="72" y="6"/>
                        </a:cubicBezTo>
                        <a:cubicBezTo>
                          <a:pt x="73" y="9"/>
                          <a:pt x="71" y="12"/>
                          <a:pt x="71" y="14"/>
                        </a:cubicBezTo>
                        <a:cubicBezTo>
                          <a:pt x="71" y="16"/>
                          <a:pt x="71" y="16"/>
                          <a:pt x="69" y="17"/>
                        </a:cubicBezTo>
                        <a:cubicBezTo>
                          <a:pt x="68" y="18"/>
                          <a:pt x="67" y="18"/>
                          <a:pt x="67" y="20"/>
                        </a:cubicBezTo>
                        <a:cubicBezTo>
                          <a:pt x="64" y="20"/>
                          <a:pt x="60" y="20"/>
                          <a:pt x="57" y="20"/>
                        </a:cubicBezTo>
                        <a:cubicBezTo>
                          <a:pt x="55" y="20"/>
                          <a:pt x="53" y="19"/>
                          <a:pt x="52" y="20"/>
                        </a:cubicBezTo>
                        <a:cubicBezTo>
                          <a:pt x="51" y="21"/>
                          <a:pt x="51" y="23"/>
                          <a:pt x="49" y="23"/>
                        </a:cubicBezTo>
                        <a:cubicBezTo>
                          <a:pt x="49" y="27"/>
                          <a:pt x="46" y="25"/>
                          <a:pt x="43" y="26"/>
                        </a:cubicBezTo>
                        <a:cubicBezTo>
                          <a:pt x="42" y="26"/>
                          <a:pt x="41" y="27"/>
                          <a:pt x="40" y="29"/>
                        </a:cubicBezTo>
                        <a:cubicBezTo>
                          <a:pt x="38" y="30"/>
                          <a:pt x="39" y="30"/>
                          <a:pt x="38" y="32"/>
                        </a:cubicBezTo>
                        <a:cubicBezTo>
                          <a:pt x="37" y="34"/>
                          <a:pt x="36" y="32"/>
                          <a:pt x="35" y="33"/>
                        </a:cubicBezTo>
                        <a:cubicBezTo>
                          <a:pt x="34" y="34"/>
                          <a:pt x="36" y="37"/>
                          <a:pt x="37" y="38"/>
                        </a:cubicBezTo>
                        <a:cubicBezTo>
                          <a:pt x="38" y="40"/>
                          <a:pt x="39" y="42"/>
                          <a:pt x="38" y="45"/>
                        </a:cubicBezTo>
                        <a:cubicBezTo>
                          <a:pt x="38" y="45"/>
                          <a:pt x="37" y="45"/>
                          <a:pt x="37" y="45"/>
                        </a:cubicBezTo>
                        <a:cubicBezTo>
                          <a:pt x="39" y="45"/>
                          <a:pt x="40" y="46"/>
                          <a:pt x="40" y="49"/>
                        </a:cubicBezTo>
                        <a:cubicBezTo>
                          <a:pt x="40" y="49"/>
                          <a:pt x="38" y="49"/>
                          <a:pt x="38" y="50"/>
                        </a:cubicBezTo>
                        <a:cubicBezTo>
                          <a:pt x="37" y="50"/>
                          <a:pt x="36" y="52"/>
                          <a:pt x="35" y="53"/>
                        </a:cubicBezTo>
                        <a:cubicBezTo>
                          <a:pt x="35" y="54"/>
                          <a:pt x="32" y="63"/>
                          <a:pt x="35" y="63"/>
                        </a:cubicBezTo>
                        <a:cubicBezTo>
                          <a:pt x="35" y="63"/>
                          <a:pt x="35" y="63"/>
                          <a:pt x="35" y="63"/>
                        </a:cubicBezTo>
                        <a:cubicBezTo>
                          <a:pt x="35" y="64"/>
                          <a:pt x="36" y="64"/>
                          <a:pt x="37" y="64"/>
                        </a:cubicBezTo>
                        <a:cubicBezTo>
                          <a:pt x="37" y="62"/>
                          <a:pt x="37" y="62"/>
                          <a:pt x="37" y="62"/>
                        </a:cubicBezTo>
                        <a:cubicBezTo>
                          <a:pt x="38" y="62"/>
                          <a:pt x="39" y="62"/>
                          <a:pt x="40" y="62"/>
                        </a:cubicBezTo>
                        <a:cubicBezTo>
                          <a:pt x="40" y="63"/>
                          <a:pt x="41" y="64"/>
                          <a:pt x="40" y="65"/>
                        </a:cubicBezTo>
                        <a:cubicBezTo>
                          <a:pt x="40" y="65"/>
                          <a:pt x="38" y="65"/>
                          <a:pt x="38" y="65"/>
                        </a:cubicBezTo>
                        <a:cubicBezTo>
                          <a:pt x="37" y="65"/>
                          <a:pt x="37" y="66"/>
                          <a:pt x="36" y="66"/>
                        </a:cubicBezTo>
                        <a:cubicBezTo>
                          <a:pt x="35" y="67"/>
                          <a:pt x="35" y="67"/>
                          <a:pt x="34" y="67"/>
                        </a:cubicBezTo>
                        <a:cubicBezTo>
                          <a:pt x="33" y="68"/>
                          <a:pt x="33" y="68"/>
                          <a:pt x="33" y="69"/>
                        </a:cubicBezTo>
                        <a:cubicBezTo>
                          <a:pt x="32" y="69"/>
                          <a:pt x="32" y="70"/>
                          <a:pt x="31" y="70"/>
                        </a:cubicBezTo>
                        <a:cubicBezTo>
                          <a:pt x="30" y="72"/>
                          <a:pt x="29" y="73"/>
                          <a:pt x="27" y="74"/>
                        </a:cubicBezTo>
                        <a:cubicBezTo>
                          <a:pt x="26" y="76"/>
                          <a:pt x="25" y="76"/>
                          <a:pt x="23" y="77"/>
                        </a:cubicBezTo>
                        <a:cubicBezTo>
                          <a:pt x="20" y="77"/>
                          <a:pt x="22" y="79"/>
                          <a:pt x="21" y="80"/>
                        </a:cubicBezTo>
                        <a:cubicBezTo>
                          <a:pt x="20" y="82"/>
                          <a:pt x="18" y="82"/>
                          <a:pt x="17" y="83"/>
                        </a:cubicBezTo>
                        <a:cubicBezTo>
                          <a:pt x="16" y="85"/>
                          <a:pt x="16" y="85"/>
                          <a:pt x="13" y="85"/>
                        </a:cubicBezTo>
                        <a:cubicBezTo>
                          <a:pt x="13" y="86"/>
                          <a:pt x="13" y="87"/>
                          <a:pt x="13" y="88"/>
                        </a:cubicBezTo>
                        <a:cubicBezTo>
                          <a:pt x="12" y="88"/>
                          <a:pt x="11" y="91"/>
                          <a:pt x="10" y="91"/>
                        </a:cubicBezTo>
                        <a:cubicBezTo>
                          <a:pt x="9" y="91"/>
                          <a:pt x="9" y="91"/>
                          <a:pt x="9" y="91"/>
                        </a:cubicBezTo>
                        <a:cubicBezTo>
                          <a:pt x="8" y="91"/>
                          <a:pt x="4" y="91"/>
                          <a:pt x="4" y="93"/>
                        </a:cubicBezTo>
                        <a:cubicBezTo>
                          <a:pt x="6" y="93"/>
                          <a:pt x="7" y="94"/>
                          <a:pt x="6" y="95"/>
                        </a:cubicBezTo>
                        <a:cubicBezTo>
                          <a:pt x="6" y="95"/>
                          <a:pt x="3" y="96"/>
                          <a:pt x="3" y="96"/>
                        </a:cubicBezTo>
                        <a:cubicBezTo>
                          <a:pt x="1" y="98"/>
                          <a:pt x="3" y="99"/>
                          <a:pt x="5" y="100"/>
                        </a:cubicBezTo>
                        <a:cubicBezTo>
                          <a:pt x="5" y="103"/>
                          <a:pt x="4" y="105"/>
                          <a:pt x="4" y="107"/>
                        </a:cubicBezTo>
                        <a:cubicBezTo>
                          <a:pt x="3" y="109"/>
                          <a:pt x="4" y="110"/>
                          <a:pt x="2" y="110"/>
                        </a:cubicBezTo>
                        <a:cubicBezTo>
                          <a:pt x="1" y="111"/>
                          <a:pt x="1" y="111"/>
                          <a:pt x="0" y="111"/>
                        </a:cubicBezTo>
                        <a:cubicBezTo>
                          <a:pt x="2" y="112"/>
                          <a:pt x="3" y="113"/>
                          <a:pt x="3" y="117"/>
                        </a:cubicBezTo>
                        <a:cubicBezTo>
                          <a:pt x="2" y="119"/>
                          <a:pt x="6" y="118"/>
                          <a:pt x="8" y="118"/>
                        </a:cubicBezTo>
                        <a:cubicBezTo>
                          <a:pt x="11" y="118"/>
                          <a:pt x="13" y="119"/>
                          <a:pt x="16" y="120"/>
                        </a:cubicBezTo>
                        <a:cubicBezTo>
                          <a:pt x="19" y="121"/>
                          <a:pt x="22" y="120"/>
                          <a:pt x="25" y="121"/>
                        </a:cubicBezTo>
                        <a:cubicBezTo>
                          <a:pt x="29" y="121"/>
                          <a:pt x="31" y="124"/>
                          <a:pt x="34" y="123"/>
                        </a:cubicBezTo>
                        <a:cubicBezTo>
                          <a:pt x="35" y="122"/>
                          <a:pt x="36" y="122"/>
                          <a:pt x="36" y="121"/>
                        </a:cubicBezTo>
                        <a:cubicBezTo>
                          <a:pt x="40" y="121"/>
                          <a:pt x="46" y="121"/>
                          <a:pt x="48" y="124"/>
                        </a:cubicBezTo>
                        <a:cubicBezTo>
                          <a:pt x="52" y="130"/>
                          <a:pt x="52" y="123"/>
                          <a:pt x="54" y="126"/>
                        </a:cubicBezTo>
                        <a:cubicBezTo>
                          <a:pt x="54" y="126"/>
                          <a:pt x="53" y="135"/>
                          <a:pt x="57" y="131"/>
                        </a:cubicBezTo>
                        <a:cubicBezTo>
                          <a:pt x="57" y="131"/>
                          <a:pt x="56" y="130"/>
                          <a:pt x="58" y="130"/>
                        </a:cubicBezTo>
                        <a:cubicBezTo>
                          <a:pt x="59" y="130"/>
                          <a:pt x="59" y="132"/>
                          <a:pt x="58" y="133"/>
                        </a:cubicBezTo>
                        <a:cubicBezTo>
                          <a:pt x="58" y="135"/>
                          <a:pt x="55" y="136"/>
                          <a:pt x="55" y="139"/>
                        </a:cubicBezTo>
                        <a:cubicBezTo>
                          <a:pt x="55" y="139"/>
                          <a:pt x="57" y="140"/>
                          <a:pt x="57" y="141"/>
                        </a:cubicBezTo>
                        <a:cubicBezTo>
                          <a:pt x="58" y="142"/>
                          <a:pt x="59" y="143"/>
                          <a:pt x="59" y="145"/>
                        </a:cubicBezTo>
                        <a:cubicBezTo>
                          <a:pt x="62" y="145"/>
                          <a:pt x="62" y="144"/>
                          <a:pt x="62" y="142"/>
                        </a:cubicBezTo>
                        <a:cubicBezTo>
                          <a:pt x="62" y="139"/>
                          <a:pt x="65" y="138"/>
                          <a:pt x="66" y="136"/>
                        </a:cubicBezTo>
                        <a:cubicBezTo>
                          <a:pt x="68" y="134"/>
                          <a:pt x="69" y="131"/>
                          <a:pt x="72" y="133"/>
                        </a:cubicBezTo>
                        <a:cubicBezTo>
                          <a:pt x="75" y="134"/>
                          <a:pt x="77" y="135"/>
                          <a:pt x="80" y="134"/>
                        </a:cubicBezTo>
                        <a:cubicBezTo>
                          <a:pt x="80" y="130"/>
                          <a:pt x="89" y="131"/>
                          <a:pt x="89" y="136"/>
                        </a:cubicBezTo>
                        <a:cubicBezTo>
                          <a:pt x="91" y="136"/>
                          <a:pt x="93" y="136"/>
                          <a:pt x="94" y="136"/>
                        </a:cubicBezTo>
                        <a:cubicBezTo>
                          <a:pt x="97" y="137"/>
                          <a:pt x="96" y="136"/>
                          <a:pt x="97" y="135"/>
                        </a:cubicBezTo>
                        <a:cubicBezTo>
                          <a:pt x="97" y="134"/>
                          <a:pt x="98" y="134"/>
                          <a:pt x="98" y="133"/>
                        </a:cubicBezTo>
                        <a:cubicBezTo>
                          <a:pt x="98" y="134"/>
                          <a:pt x="99" y="134"/>
                          <a:pt x="99" y="134"/>
                        </a:cubicBezTo>
                        <a:cubicBezTo>
                          <a:pt x="100" y="134"/>
                          <a:pt x="99" y="133"/>
                          <a:pt x="100" y="132"/>
                        </a:cubicBezTo>
                        <a:cubicBezTo>
                          <a:pt x="101" y="132"/>
                          <a:pt x="102" y="132"/>
                          <a:pt x="103" y="132"/>
                        </a:cubicBezTo>
                        <a:cubicBezTo>
                          <a:pt x="103" y="131"/>
                          <a:pt x="104" y="130"/>
                          <a:pt x="104" y="130"/>
                        </a:cubicBezTo>
                        <a:cubicBezTo>
                          <a:pt x="102" y="130"/>
                          <a:pt x="102" y="126"/>
                          <a:pt x="103" y="125"/>
                        </a:cubicBezTo>
                        <a:cubicBezTo>
                          <a:pt x="103" y="124"/>
                          <a:pt x="103" y="123"/>
                          <a:pt x="104" y="122"/>
                        </a:cubicBezTo>
                        <a:cubicBezTo>
                          <a:pt x="104" y="120"/>
                          <a:pt x="104" y="117"/>
                          <a:pt x="105" y="115"/>
                        </a:cubicBezTo>
                        <a:cubicBezTo>
                          <a:pt x="106" y="116"/>
                          <a:pt x="111" y="119"/>
                          <a:pt x="112" y="116"/>
                        </a:cubicBezTo>
                        <a:cubicBezTo>
                          <a:pt x="112" y="114"/>
                          <a:pt x="114" y="113"/>
                          <a:pt x="115" y="116"/>
                        </a:cubicBezTo>
                        <a:cubicBezTo>
                          <a:pt x="115" y="117"/>
                          <a:pt x="115" y="118"/>
                          <a:pt x="116" y="119"/>
                        </a:cubicBezTo>
                        <a:cubicBezTo>
                          <a:pt x="118" y="121"/>
                          <a:pt x="118" y="119"/>
                          <a:pt x="119" y="118"/>
                        </a:cubicBezTo>
                        <a:cubicBezTo>
                          <a:pt x="121" y="117"/>
                          <a:pt x="122" y="117"/>
                          <a:pt x="122" y="115"/>
                        </a:cubicBezTo>
                        <a:cubicBezTo>
                          <a:pt x="122" y="113"/>
                          <a:pt x="121" y="112"/>
                          <a:pt x="119" y="112"/>
                        </a:cubicBezTo>
                        <a:cubicBezTo>
                          <a:pt x="119" y="111"/>
                          <a:pt x="119" y="111"/>
                          <a:pt x="119" y="111"/>
                        </a:cubicBezTo>
                        <a:cubicBezTo>
                          <a:pt x="121" y="112"/>
                          <a:pt x="121" y="110"/>
                          <a:pt x="122" y="109"/>
                        </a:cubicBezTo>
                        <a:cubicBezTo>
                          <a:pt x="123" y="109"/>
                          <a:pt x="125" y="108"/>
                          <a:pt x="126" y="108"/>
                        </a:cubicBezTo>
                        <a:cubicBezTo>
                          <a:pt x="126" y="107"/>
                          <a:pt x="126" y="106"/>
                          <a:pt x="126" y="105"/>
                        </a:cubicBezTo>
                        <a:cubicBezTo>
                          <a:pt x="125" y="104"/>
                          <a:pt x="125" y="103"/>
                          <a:pt x="125" y="102"/>
                        </a:cubicBezTo>
                        <a:cubicBezTo>
                          <a:pt x="126" y="101"/>
                          <a:pt x="127" y="101"/>
                          <a:pt x="128" y="102"/>
                        </a:cubicBezTo>
                        <a:cubicBezTo>
                          <a:pt x="128" y="103"/>
                          <a:pt x="130" y="103"/>
                          <a:pt x="131" y="103"/>
                        </a:cubicBezTo>
                        <a:cubicBezTo>
                          <a:pt x="133" y="104"/>
                          <a:pt x="132" y="106"/>
                          <a:pt x="133" y="107"/>
                        </a:cubicBezTo>
                        <a:cubicBezTo>
                          <a:pt x="135" y="107"/>
                          <a:pt x="134" y="100"/>
                          <a:pt x="134" y="99"/>
                        </a:cubicBezTo>
                        <a:cubicBezTo>
                          <a:pt x="134" y="97"/>
                          <a:pt x="135" y="95"/>
                          <a:pt x="134" y="94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20" name="Freeform 439">
                    <a:extLst>
                      <a:ext uri="{FF2B5EF4-FFF2-40B4-BE49-F238E27FC236}">
                        <a16:creationId xmlns:a16="http://schemas.microsoft.com/office/drawing/2014/main" xmlns="" id="{C7915062-C667-4142-8E06-1EBFE088F46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30551" y="1173163"/>
                    <a:ext cx="1160463" cy="838200"/>
                  </a:xfrm>
                  <a:custGeom>
                    <a:avLst/>
                    <a:gdLst>
                      <a:gd name="T0" fmla="*/ 93 w 328"/>
                      <a:gd name="T1" fmla="*/ 219 h 237"/>
                      <a:gd name="T2" fmla="*/ 87 w 328"/>
                      <a:gd name="T3" fmla="*/ 220 h 237"/>
                      <a:gd name="T4" fmla="*/ 78 w 328"/>
                      <a:gd name="T5" fmla="*/ 208 h 237"/>
                      <a:gd name="T6" fmla="*/ 66 w 328"/>
                      <a:gd name="T7" fmla="*/ 203 h 237"/>
                      <a:gd name="T8" fmla="*/ 40 w 328"/>
                      <a:gd name="T9" fmla="*/ 191 h 237"/>
                      <a:gd name="T10" fmla="*/ 34 w 328"/>
                      <a:gd name="T11" fmla="*/ 175 h 237"/>
                      <a:gd name="T12" fmla="*/ 36 w 328"/>
                      <a:gd name="T13" fmla="*/ 156 h 237"/>
                      <a:gd name="T14" fmla="*/ 33 w 328"/>
                      <a:gd name="T15" fmla="*/ 132 h 237"/>
                      <a:gd name="T16" fmla="*/ 41 w 328"/>
                      <a:gd name="T17" fmla="*/ 115 h 237"/>
                      <a:gd name="T18" fmla="*/ 50 w 328"/>
                      <a:gd name="T19" fmla="*/ 104 h 237"/>
                      <a:gd name="T20" fmla="*/ 61 w 328"/>
                      <a:gd name="T21" fmla="*/ 97 h 237"/>
                      <a:gd name="T22" fmla="*/ 52 w 328"/>
                      <a:gd name="T23" fmla="*/ 83 h 237"/>
                      <a:gd name="T24" fmla="*/ 41 w 328"/>
                      <a:gd name="T25" fmla="*/ 68 h 237"/>
                      <a:gd name="T26" fmla="*/ 26 w 328"/>
                      <a:gd name="T27" fmla="*/ 59 h 237"/>
                      <a:gd name="T28" fmla="*/ 18 w 328"/>
                      <a:gd name="T29" fmla="*/ 50 h 237"/>
                      <a:gd name="T30" fmla="*/ 1 w 328"/>
                      <a:gd name="T31" fmla="*/ 48 h 237"/>
                      <a:gd name="T32" fmla="*/ 4 w 328"/>
                      <a:gd name="T33" fmla="*/ 33 h 237"/>
                      <a:gd name="T34" fmla="*/ 24 w 328"/>
                      <a:gd name="T35" fmla="*/ 18 h 237"/>
                      <a:gd name="T36" fmla="*/ 52 w 328"/>
                      <a:gd name="T37" fmla="*/ 14 h 237"/>
                      <a:gd name="T38" fmla="*/ 51 w 328"/>
                      <a:gd name="T39" fmla="*/ 5 h 237"/>
                      <a:gd name="T40" fmla="*/ 87 w 328"/>
                      <a:gd name="T41" fmla="*/ 3 h 237"/>
                      <a:gd name="T42" fmla="*/ 106 w 328"/>
                      <a:gd name="T43" fmla="*/ 4 h 237"/>
                      <a:gd name="T44" fmla="*/ 125 w 328"/>
                      <a:gd name="T45" fmla="*/ 9 h 237"/>
                      <a:gd name="T46" fmla="*/ 144 w 328"/>
                      <a:gd name="T47" fmla="*/ 27 h 237"/>
                      <a:gd name="T48" fmla="*/ 168 w 328"/>
                      <a:gd name="T49" fmla="*/ 47 h 237"/>
                      <a:gd name="T50" fmla="*/ 193 w 328"/>
                      <a:gd name="T51" fmla="*/ 66 h 237"/>
                      <a:gd name="T52" fmla="*/ 206 w 328"/>
                      <a:gd name="T53" fmla="*/ 74 h 237"/>
                      <a:gd name="T54" fmla="*/ 216 w 328"/>
                      <a:gd name="T55" fmla="*/ 81 h 237"/>
                      <a:gd name="T56" fmla="*/ 237 w 328"/>
                      <a:gd name="T57" fmla="*/ 76 h 237"/>
                      <a:gd name="T58" fmla="*/ 254 w 328"/>
                      <a:gd name="T59" fmla="*/ 70 h 237"/>
                      <a:gd name="T60" fmla="*/ 286 w 328"/>
                      <a:gd name="T61" fmla="*/ 63 h 237"/>
                      <a:gd name="T62" fmla="*/ 320 w 328"/>
                      <a:gd name="T63" fmla="*/ 80 h 237"/>
                      <a:gd name="T64" fmla="*/ 323 w 328"/>
                      <a:gd name="T65" fmla="*/ 100 h 237"/>
                      <a:gd name="T66" fmla="*/ 307 w 328"/>
                      <a:gd name="T67" fmla="*/ 124 h 237"/>
                      <a:gd name="T68" fmla="*/ 293 w 328"/>
                      <a:gd name="T69" fmla="*/ 138 h 237"/>
                      <a:gd name="T70" fmla="*/ 287 w 328"/>
                      <a:gd name="T71" fmla="*/ 154 h 237"/>
                      <a:gd name="T72" fmla="*/ 266 w 328"/>
                      <a:gd name="T73" fmla="*/ 155 h 237"/>
                      <a:gd name="T74" fmla="*/ 265 w 328"/>
                      <a:gd name="T75" fmla="*/ 181 h 237"/>
                      <a:gd name="T76" fmla="*/ 286 w 328"/>
                      <a:gd name="T77" fmla="*/ 211 h 237"/>
                      <a:gd name="T78" fmla="*/ 282 w 328"/>
                      <a:gd name="T79" fmla="*/ 226 h 237"/>
                      <a:gd name="T80" fmla="*/ 269 w 328"/>
                      <a:gd name="T81" fmla="*/ 233 h 237"/>
                      <a:gd name="T82" fmla="*/ 257 w 328"/>
                      <a:gd name="T83" fmla="*/ 228 h 237"/>
                      <a:gd name="T84" fmla="*/ 243 w 328"/>
                      <a:gd name="T85" fmla="*/ 225 h 237"/>
                      <a:gd name="T86" fmla="*/ 242 w 328"/>
                      <a:gd name="T87" fmla="*/ 230 h 237"/>
                      <a:gd name="T88" fmla="*/ 234 w 328"/>
                      <a:gd name="T89" fmla="*/ 217 h 237"/>
                      <a:gd name="T90" fmla="*/ 221 w 328"/>
                      <a:gd name="T91" fmla="*/ 214 h 237"/>
                      <a:gd name="T92" fmla="*/ 198 w 328"/>
                      <a:gd name="T93" fmla="*/ 206 h 237"/>
                      <a:gd name="T94" fmla="*/ 176 w 328"/>
                      <a:gd name="T95" fmla="*/ 195 h 237"/>
                      <a:gd name="T96" fmla="*/ 146 w 328"/>
                      <a:gd name="T97" fmla="*/ 197 h 237"/>
                      <a:gd name="T98" fmla="*/ 133 w 328"/>
                      <a:gd name="T99" fmla="*/ 202 h 237"/>
                      <a:gd name="T100" fmla="*/ 131 w 328"/>
                      <a:gd name="T101" fmla="*/ 211 h 237"/>
                      <a:gd name="T102" fmla="*/ 122 w 328"/>
                      <a:gd name="T103" fmla="*/ 223 h 237"/>
                      <a:gd name="T104" fmla="*/ 105 w 328"/>
                      <a:gd name="T105" fmla="*/ 227 h 2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328" h="237">
                        <a:moveTo>
                          <a:pt x="105" y="227"/>
                        </a:moveTo>
                        <a:cubicBezTo>
                          <a:pt x="105" y="225"/>
                          <a:pt x="102" y="223"/>
                          <a:pt x="101" y="223"/>
                        </a:cubicBezTo>
                        <a:cubicBezTo>
                          <a:pt x="100" y="222"/>
                          <a:pt x="98" y="223"/>
                          <a:pt x="97" y="223"/>
                        </a:cubicBezTo>
                        <a:cubicBezTo>
                          <a:pt x="97" y="221"/>
                          <a:pt x="95" y="220"/>
                          <a:pt x="95" y="219"/>
                        </a:cubicBezTo>
                        <a:cubicBezTo>
                          <a:pt x="94" y="219"/>
                          <a:pt x="93" y="219"/>
                          <a:pt x="93" y="219"/>
                        </a:cubicBezTo>
                        <a:cubicBezTo>
                          <a:pt x="92" y="219"/>
                          <a:pt x="92" y="219"/>
                          <a:pt x="92" y="219"/>
                        </a:cubicBezTo>
                        <a:cubicBezTo>
                          <a:pt x="91" y="219"/>
                          <a:pt x="91" y="220"/>
                          <a:pt x="91" y="221"/>
                        </a:cubicBezTo>
                        <a:cubicBezTo>
                          <a:pt x="90" y="221"/>
                          <a:pt x="89" y="221"/>
                          <a:pt x="89" y="221"/>
                        </a:cubicBezTo>
                        <a:cubicBezTo>
                          <a:pt x="88" y="220"/>
                          <a:pt x="88" y="220"/>
                          <a:pt x="88" y="220"/>
                        </a:cubicBezTo>
                        <a:cubicBezTo>
                          <a:pt x="87" y="220"/>
                          <a:pt x="87" y="220"/>
                          <a:pt x="87" y="220"/>
                        </a:cubicBezTo>
                        <a:cubicBezTo>
                          <a:pt x="87" y="219"/>
                          <a:pt x="86" y="218"/>
                          <a:pt x="86" y="217"/>
                        </a:cubicBezTo>
                        <a:cubicBezTo>
                          <a:pt x="84" y="217"/>
                          <a:pt x="79" y="216"/>
                          <a:pt x="77" y="218"/>
                        </a:cubicBezTo>
                        <a:cubicBezTo>
                          <a:pt x="77" y="218"/>
                          <a:pt x="77" y="216"/>
                          <a:pt x="77" y="215"/>
                        </a:cubicBezTo>
                        <a:cubicBezTo>
                          <a:pt x="74" y="215"/>
                          <a:pt x="77" y="213"/>
                          <a:pt x="77" y="212"/>
                        </a:cubicBezTo>
                        <a:cubicBezTo>
                          <a:pt x="78" y="211"/>
                          <a:pt x="78" y="210"/>
                          <a:pt x="78" y="208"/>
                        </a:cubicBezTo>
                        <a:cubicBezTo>
                          <a:pt x="77" y="208"/>
                          <a:pt x="77" y="208"/>
                          <a:pt x="77" y="208"/>
                        </a:cubicBezTo>
                        <a:cubicBezTo>
                          <a:pt x="77" y="206"/>
                          <a:pt x="79" y="204"/>
                          <a:pt x="79" y="201"/>
                        </a:cubicBezTo>
                        <a:cubicBezTo>
                          <a:pt x="77" y="201"/>
                          <a:pt x="76" y="202"/>
                          <a:pt x="75" y="202"/>
                        </a:cubicBezTo>
                        <a:cubicBezTo>
                          <a:pt x="75" y="203"/>
                          <a:pt x="75" y="204"/>
                          <a:pt x="75" y="205"/>
                        </a:cubicBezTo>
                        <a:cubicBezTo>
                          <a:pt x="72" y="205"/>
                          <a:pt x="70" y="203"/>
                          <a:pt x="66" y="203"/>
                        </a:cubicBezTo>
                        <a:cubicBezTo>
                          <a:pt x="66" y="204"/>
                          <a:pt x="66" y="204"/>
                          <a:pt x="66" y="204"/>
                        </a:cubicBezTo>
                        <a:cubicBezTo>
                          <a:pt x="61" y="205"/>
                          <a:pt x="63" y="200"/>
                          <a:pt x="60" y="198"/>
                        </a:cubicBezTo>
                        <a:cubicBezTo>
                          <a:pt x="59" y="198"/>
                          <a:pt x="58" y="199"/>
                          <a:pt x="56" y="198"/>
                        </a:cubicBezTo>
                        <a:cubicBezTo>
                          <a:pt x="55" y="197"/>
                          <a:pt x="55" y="195"/>
                          <a:pt x="53" y="195"/>
                        </a:cubicBezTo>
                        <a:cubicBezTo>
                          <a:pt x="52" y="191"/>
                          <a:pt x="43" y="191"/>
                          <a:pt x="40" y="191"/>
                        </a:cubicBezTo>
                        <a:cubicBezTo>
                          <a:pt x="41" y="187"/>
                          <a:pt x="38" y="186"/>
                          <a:pt x="35" y="186"/>
                        </a:cubicBezTo>
                        <a:cubicBezTo>
                          <a:pt x="35" y="184"/>
                          <a:pt x="35" y="183"/>
                          <a:pt x="35" y="181"/>
                        </a:cubicBezTo>
                        <a:cubicBezTo>
                          <a:pt x="35" y="181"/>
                          <a:pt x="35" y="181"/>
                          <a:pt x="35" y="181"/>
                        </a:cubicBezTo>
                        <a:cubicBezTo>
                          <a:pt x="35" y="180"/>
                          <a:pt x="35" y="179"/>
                          <a:pt x="35" y="178"/>
                        </a:cubicBezTo>
                        <a:cubicBezTo>
                          <a:pt x="34" y="177"/>
                          <a:pt x="34" y="177"/>
                          <a:pt x="34" y="175"/>
                        </a:cubicBezTo>
                        <a:cubicBezTo>
                          <a:pt x="34" y="175"/>
                          <a:pt x="35" y="174"/>
                          <a:pt x="36" y="173"/>
                        </a:cubicBezTo>
                        <a:cubicBezTo>
                          <a:pt x="36" y="172"/>
                          <a:pt x="36" y="170"/>
                          <a:pt x="36" y="170"/>
                        </a:cubicBezTo>
                        <a:cubicBezTo>
                          <a:pt x="36" y="168"/>
                          <a:pt x="36" y="167"/>
                          <a:pt x="35" y="165"/>
                        </a:cubicBezTo>
                        <a:cubicBezTo>
                          <a:pt x="35" y="165"/>
                          <a:pt x="34" y="163"/>
                          <a:pt x="34" y="163"/>
                        </a:cubicBezTo>
                        <a:cubicBezTo>
                          <a:pt x="34" y="160"/>
                          <a:pt x="36" y="159"/>
                          <a:pt x="36" y="156"/>
                        </a:cubicBezTo>
                        <a:cubicBezTo>
                          <a:pt x="36" y="156"/>
                          <a:pt x="36" y="155"/>
                          <a:pt x="36" y="155"/>
                        </a:cubicBezTo>
                        <a:cubicBezTo>
                          <a:pt x="36" y="154"/>
                          <a:pt x="35" y="154"/>
                          <a:pt x="35" y="153"/>
                        </a:cubicBezTo>
                        <a:cubicBezTo>
                          <a:pt x="35" y="152"/>
                          <a:pt x="35" y="152"/>
                          <a:pt x="36" y="151"/>
                        </a:cubicBezTo>
                        <a:cubicBezTo>
                          <a:pt x="36" y="149"/>
                          <a:pt x="35" y="147"/>
                          <a:pt x="34" y="145"/>
                        </a:cubicBezTo>
                        <a:cubicBezTo>
                          <a:pt x="33" y="141"/>
                          <a:pt x="33" y="137"/>
                          <a:pt x="33" y="132"/>
                        </a:cubicBezTo>
                        <a:cubicBezTo>
                          <a:pt x="32" y="132"/>
                          <a:pt x="32" y="132"/>
                          <a:pt x="32" y="132"/>
                        </a:cubicBezTo>
                        <a:cubicBezTo>
                          <a:pt x="32" y="130"/>
                          <a:pt x="32" y="127"/>
                          <a:pt x="32" y="125"/>
                        </a:cubicBezTo>
                        <a:cubicBezTo>
                          <a:pt x="30" y="124"/>
                          <a:pt x="32" y="120"/>
                          <a:pt x="32" y="119"/>
                        </a:cubicBezTo>
                        <a:cubicBezTo>
                          <a:pt x="32" y="118"/>
                          <a:pt x="32" y="116"/>
                          <a:pt x="33" y="115"/>
                        </a:cubicBezTo>
                        <a:cubicBezTo>
                          <a:pt x="34" y="114"/>
                          <a:pt x="39" y="115"/>
                          <a:pt x="41" y="115"/>
                        </a:cubicBezTo>
                        <a:cubicBezTo>
                          <a:pt x="43" y="115"/>
                          <a:pt x="42" y="116"/>
                          <a:pt x="43" y="113"/>
                        </a:cubicBezTo>
                        <a:cubicBezTo>
                          <a:pt x="44" y="112"/>
                          <a:pt x="44" y="111"/>
                          <a:pt x="45" y="110"/>
                        </a:cubicBezTo>
                        <a:cubicBezTo>
                          <a:pt x="45" y="109"/>
                          <a:pt x="44" y="106"/>
                          <a:pt x="45" y="106"/>
                        </a:cubicBezTo>
                        <a:cubicBezTo>
                          <a:pt x="45" y="105"/>
                          <a:pt x="48" y="105"/>
                          <a:pt x="49" y="105"/>
                        </a:cubicBezTo>
                        <a:cubicBezTo>
                          <a:pt x="49" y="105"/>
                          <a:pt x="50" y="104"/>
                          <a:pt x="50" y="104"/>
                        </a:cubicBezTo>
                        <a:cubicBezTo>
                          <a:pt x="51" y="103"/>
                          <a:pt x="52" y="103"/>
                          <a:pt x="53" y="103"/>
                        </a:cubicBezTo>
                        <a:cubicBezTo>
                          <a:pt x="54" y="103"/>
                          <a:pt x="55" y="104"/>
                          <a:pt x="56" y="103"/>
                        </a:cubicBezTo>
                        <a:cubicBezTo>
                          <a:pt x="57" y="103"/>
                          <a:pt x="57" y="102"/>
                          <a:pt x="58" y="101"/>
                        </a:cubicBezTo>
                        <a:cubicBezTo>
                          <a:pt x="58" y="101"/>
                          <a:pt x="60" y="101"/>
                          <a:pt x="60" y="100"/>
                        </a:cubicBezTo>
                        <a:cubicBezTo>
                          <a:pt x="61" y="99"/>
                          <a:pt x="60" y="98"/>
                          <a:pt x="61" y="97"/>
                        </a:cubicBezTo>
                        <a:cubicBezTo>
                          <a:pt x="61" y="96"/>
                          <a:pt x="61" y="96"/>
                          <a:pt x="62" y="95"/>
                        </a:cubicBezTo>
                        <a:cubicBezTo>
                          <a:pt x="63" y="94"/>
                          <a:pt x="64" y="91"/>
                          <a:pt x="63" y="90"/>
                        </a:cubicBezTo>
                        <a:cubicBezTo>
                          <a:pt x="62" y="88"/>
                          <a:pt x="60" y="89"/>
                          <a:pt x="58" y="88"/>
                        </a:cubicBezTo>
                        <a:cubicBezTo>
                          <a:pt x="57" y="86"/>
                          <a:pt x="55" y="86"/>
                          <a:pt x="54" y="85"/>
                        </a:cubicBezTo>
                        <a:cubicBezTo>
                          <a:pt x="53" y="84"/>
                          <a:pt x="53" y="83"/>
                          <a:pt x="52" y="83"/>
                        </a:cubicBezTo>
                        <a:cubicBezTo>
                          <a:pt x="51" y="82"/>
                          <a:pt x="50" y="83"/>
                          <a:pt x="49" y="83"/>
                        </a:cubicBezTo>
                        <a:cubicBezTo>
                          <a:pt x="46" y="81"/>
                          <a:pt x="47" y="74"/>
                          <a:pt x="50" y="74"/>
                        </a:cubicBezTo>
                        <a:cubicBezTo>
                          <a:pt x="50" y="73"/>
                          <a:pt x="51" y="72"/>
                          <a:pt x="52" y="72"/>
                        </a:cubicBezTo>
                        <a:cubicBezTo>
                          <a:pt x="52" y="72"/>
                          <a:pt x="52" y="71"/>
                          <a:pt x="52" y="70"/>
                        </a:cubicBezTo>
                        <a:cubicBezTo>
                          <a:pt x="49" y="68"/>
                          <a:pt x="45" y="69"/>
                          <a:pt x="41" y="68"/>
                        </a:cubicBezTo>
                        <a:cubicBezTo>
                          <a:pt x="40" y="68"/>
                          <a:pt x="39" y="68"/>
                          <a:pt x="39" y="67"/>
                        </a:cubicBezTo>
                        <a:cubicBezTo>
                          <a:pt x="38" y="67"/>
                          <a:pt x="37" y="66"/>
                          <a:pt x="36" y="65"/>
                        </a:cubicBezTo>
                        <a:cubicBezTo>
                          <a:pt x="35" y="64"/>
                          <a:pt x="33" y="65"/>
                          <a:pt x="32" y="64"/>
                        </a:cubicBezTo>
                        <a:cubicBezTo>
                          <a:pt x="30" y="64"/>
                          <a:pt x="30" y="62"/>
                          <a:pt x="29" y="61"/>
                        </a:cubicBezTo>
                        <a:cubicBezTo>
                          <a:pt x="28" y="60"/>
                          <a:pt x="27" y="61"/>
                          <a:pt x="26" y="59"/>
                        </a:cubicBezTo>
                        <a:cubicBezTo>
                          <a:pt x="26" y="58"/>
                          <a:pt x="26" y="57"/>
                          <a:pt x="26" y="55"/>
                        </a:cubicBezTo>
                        <a:cubicBezTo>
                          <a:pt x="25" y="54"/>
                          <a:pt x="24" y="53"/>
                          <a:pt x="24" y="52"/>
                        </a:cubicBezTo>
                        <a:cubicBezTo>
                          <a:pt x="23" y="52"/>
                          <a:pt x="21" y="52"/>
                          <a:pt x="21" y="52"/>
                        </a:cubicBezTo>
                        <a:cubicBezTo>
                          <a:pt x="20" y="51"/>
                          <a:pt x="19" y="52"/>
                          <a:pt x="19" y="52"/>
                        </a:cubicBezTo>
                        <a:cubicBezTo>
                          <a:pt x="18" y="51"/>
                          <a:pt x="19" y="50"/>
                          <a:pt x="18" y="50"/>
                        </a:cubicBezTo>
                        <a:cubicBezTo>
                          <a:pt x="16" y="50"/>
                          <a:pt x="15" y="52"/>
                          <a:pt x="12" y="51"/>
                        </a:cubicBezTo>
                        <a:cubicBezTo>
                          <a:pt x="12" y="51"/>
                          <a:pt x="12" y="51"/>
                          <a:pt x="12" y="51"/>
                        </a:cubicBezTo>
                        <a:cubicBezTo>
                          <a:pt x="10" y="50"/>
                          <a:pt x="10" y="53"/>
                          <a:pt x="8" y="52"/>
                        </a:cubicBezTo>
                        <a:cubicBezTo>
                          <a:pt x="8" y="50"/>
                          <a:pt x="4" y="51"/>
                          <a:pt x="4" y="48"/>
                        </a:cubicBezTo>
                        <a:cubicBezTo>
                          <a:pt x="4" y="48"/>
                          <a:pt x="2" y="48"/>
                          <a:pt x="1" y="48"/>
                        </a:cubicBezTo>
                        <a:cubicBezTo>
                          <a:pt x="0" y="47"/>
                          <a:pt x="2" y="47"/>
                          <a:pt x="2" y="46"/>
                        </a:cubicBezTo>
                        <a:cubicBezTo>
                          <a:pt x="2" y="44"/>
                          <a:pt x="3" y="43"/>
                          <a:pt x="2" y="41"/>
                        </a:cubicBezTo>
                        <a:cubicBezTo>
                          <a:pt x="2" y="40"/>
                          <a:pt x="1" y="40"/>
                          <a:pt x="1" y="39"/>
                        </a:cubicBezTo>
                        <a:cubicBezTo>
                          <a:pt x="1" y="39"/>
                          <a:pt x="3" y="37"/>
                          <a:pt x="3" y="36"/>
                        </a:cubicBezTo>
                        <a:cubicBezTo>
                          <a:pt x="3" y="35"/>
                          <a:pt x="3" y="34"/>
                          <a:pt x="4" y="33"/>
                        </a:cubicBezTo>
                        <a:cubicBezTo>
                          <a:pt x="5" y="31"/>
                          <a:pt x="7" y="33"/>
                          <a:pt x="9" y="33"/>
                        </a:cubicBezTo>
                        <a:cubicBezTo>
                          <a:pt x="10" y="32"/>
                          <a:pt x="10" y="32"/>
                          <a:pt x="10" y="32"/>
                        </a:cubicBezTo>
                        <a:cubicBezTo>
                          <a:pt x="10" y="27"/>
                          <a:pt x="18" y="28"/>
                          <a:pt x="17" y="23"/>
                        </a:cubicBezTo>
                        <a:cubicBezTo>
                          <a:pt x="19" y="23"/>
                          <a:pt x="21" y="23"/>
                          <a:pt x="22" y="23"/>
                        </a:cubicBezTo>
                        <a:cubicBezTo>
                          <a:pt x="23" y="22"/>
                          <a:pt x="23" y="20"/>
                          <a:pt x="24" y="18"/>
                        </a:cubicBezTo>
                        <a:cubicBezTo>
                          <a:pt x="26" y="18"/>
                          <a:pt x="27" y="17"/>
                          <a:pt x="27" y="15"/>
                        </a:cubicBezTo>
                        <a:cubicBezTo>
                          <a:pt x="28" y="14"/>
                          <a:pt x="29" y="13"/>
                          <a:pt x="30" y="12"/>
                        </a:cubicBezTo>
                        <a:cubicBezTo>
                          <a:pt x="31" y="12"/>
                          <a:pt x="33" y="12"/>
                          <a:pt x="34" y="12"/>
                        </a:cubicBezTo>
                        <a:cubicBezTo>
                          <a:pt x="37" y="12"/>
                          <a:pt x="40" y="11"/>
                          <a:pt x="43" y="12"/>
                        </a:cubicBezTo>
                        <a:cubicBezTo>
                          <a:pt x="46" y="13"/>
                          <a:pt x="48" y="15"/>
                          <a:pt x="52" y="14"/>
                        </a:cubicBezTo>
                        <a:cubicBezTo>
                          <a:pt x="53" y="14"/>
                          <a:pt x="54" y="13"/>
                          <a:pt x="56" y="13"/>
                        </a:cubicBezTo>
                        <a:cubicBezTo>
                          <a:pt x="58" y="13"/>
                          <a:pt x="59" y="13"/>
                          <a:pt x="60" y="13"/>
                        </a:cubicBezTo>
                        <a:cubicBezTo>
                          <a:pt x="60" y="12"/>
                          <a:pt x="60" y="11"/>
                          <a:pt x="60" y="10"/>
                        </a:cubicBezTo>
                        <a:cubicBezTo>
                          <a:pt x="59" y="10"/>
                          <a:pt x="59" y="10"/>
                          <a:pt x="58" y="9"/>
                        </a:cubicBezTo>
                        <a:cubicBezTo>
                          <a:pt x="57" y="5"/>
                          <a:pt x="54" y="7"/>
                          <a:pt x="51" y="5"/>
                        </a:cubicBezTo>
                        <a:cubicBezTo>
                          <a:pt x="53" y="4"/>
                          <a:pt x="59" y="6"/>
                          <a:pt x="62" y="6"/>
                        </a:cubicBezTo>
                        <a:cubicBezTo>
                          <a:pt x="66" y="7"/>
                          <a:pt x="68" y="9"/>
                          <a:pt x="72" y="8"/>
                        </a:cubicBezTo>
                        <a:cubicBezTo>
                          <a:pt x="72" y="8"/>
                          <a:pt x="72" y="7"/>
                          <a:pt x="72" y="6"/>
                        </a:cubicBezTo>
                        <a:cubicBezTo>
                          <a:pt x="75" y="6"/>
                          <a:pt x="77" y="5"/>
                          <a:pt x="80" y="4"/>
                        </a:cubicBezTo>
                        <a:cubicBezTo>
                          <a:pt x="82" y="4"/>
                          <a:pt x="84" y="2"/>
                          <a:pt x="87" y="3"/>
                        </a:cubicBezTo>
                        <a:cubicBezTo>
                          <a:pt x="88" y="3"/>
                          <a:pt x="89" y="4"/>
                          <a:pt x="90" y="4"/>
                        </a:cubicBezTo>
                        <a:cubicBezTo>
                          <a:pt x="92" y="3"/>
                          <a:pt x="92" y="1"/>
                          <a:pt x="93" y="1"/>
                        </a:cubicBezTo>
                        <a:cubicBezTo>
                          <a:pt x="94" y="1"/>
                          <a:pt x="96" y="0"/>
                          <a:pt x="97" y="1"/>
                        </a:cubicBezTo>
                        <a:cubicBezTo>
                          <a:pt x="98" y="1"/>
                          <a:pt x="98" y="2"/>
                          <a:pt x="100" y="3"/>
                        </a:cubicBezTo>
                        <a:cubicBezTo>
                          <a:pt x="101" y="6"/>
                          <a:pt x="103" y="5"/>
                          <a:pt x="106" y="4"/>
                        </a:cubicBezTo>
                        <a:cubicBezTo>
                          <a:pt x="107" y="3"/>
                          <a:pt x="109" y="4"/>
                          <a:pt x="110" y="4"/>
                        </a:cubicBezTo>
                        <a:cubicBezTo>
                          <a:pt x="111" y="4"/>
                          <a:pt x="112" y="3"/>
                          <a:pt x="112" y="4"/>
                        </a:cubicBezTo>
                        <a:cubicBezTo>
                          <a:pt x="113" y="4"/>
                          <a:pt x="113" y="4"/>
                          <a:pt x="113" y="5"/>
                        </a:cubicBezTo>
                        <a:cubicBezTo>
                          <a:pt x="115" y="6"/>
                          <a:pt x="118" y="6"/>
                          <a:pt x="120" y="6"/>
                        </a:cubicBezTo>
                        <a:cubicBezTo>
                          <a:pt x="124" y="6"/>
                          <a:pt x="125" y="6"/>
                          <a:pt x="125" y="9"/>
                        </a:cubicBezTo>
                        <a:cubicBezTo>
                          <a:pt x="125" y="11"/>
                          <a:pt x="124" y="14"/>
                          <a:pt x="125" y="16"/>
                        </a:cubicBezTo>
                        <a:cubicBezTo>
                          <a:pt x="125" y="17"/>
                          <a:pt x="126" y="18"/>
                          <a:pt x="128" y="18"/>
                        </a:cubicBezTo>
                        <a:cubicBezTo>
                          <a:pt x="129" y="17"/>
                          <a:pt x="129" y="16"/>
                          <a:pt x="130" y="16"/>
                        </a:cubicBezTo>
                        <a:cubicBezTo>
                          <a:pt x="135" y="14"/>
                          <a:pt x="139" y="18"/>
                          <a:pt x="142" y="21"/>
                        </a:cubicBezTo>
                        <a:cubicBezTo>
                          <a:pt x="143" y="23"/>
                          <a:pt x="143" y="25"/>
                          <a:pt x="144" y="27"/>
                        </a:cubicBezTo>
                        <a:cubicBezTo>
                          <a:pt x="145" y="29"/>
                          <a:pt x="146" y="31"/>
                          <a:pt x="147" y="33"/>
                        </a:cubicBezTo>
                        <a:cubicBezTo>
                          <a:pt x="148" y="34"/>
                          <a:pt x="150" y="34"/>
                          <a:pt x="151" y="35"/>
                        </a:cubicBezTo>
                        <a:cubicBezTo>
                          <a:pt x="152" y="36"/>
                          <a:pt x="152" y="38"/>
                          <a:pt x="154" y="39"/>
                        </a:cubicBezTo>
                        <a:cubicBezTo>
                          <a:pt x="157" y="40"/>
                          <a:pt x="161" y="37"/>
                          <a:pt x="163" y="41"/>
                        </a:cubicBezTo>
                        <a:cubicBezTo>
                          <a:pt x="164" y="43"/>
                          <a:pt x="164" y="46"/>
                          <a:pt x="168" y="47"/>
                        </a:cubicBezTo>
                        <a:cubicBezTo>
                          <a:pt x="171" y="48"/>
                          <a:pt x="172" y="47"/>
                          <a:pt x="174" y="49"/>
                        </a:cubicBezTo>
                        <a:cubicBezTo>
                          <a:pt x="175" y="50"/>
                          <a:pt x="176" y="52"/>
                          <a:pt x="177" y="54"/>
                        </a:cubicBezTo>
                        <a:cubicBezTo>
                          <a:pt x="177" y="57"/>
                          <a:pt x="176" y="60"/>
                          <a:pt x="179" y="63"/>
                        </a:cubicBezTo>
                        <a:cubicBezTo>
                          <a:pt x="181" y="65"/>
                          <a:pt x="182" y="65"/>
                          <a:pt x="186" y="65"/>
                        </a:cubicBezTo>
                        <a:cubicBezTo>
                          <a:pt x="188" y="65"/>
                          <a:pt x="191" y="65"/>
                          <a:pt x="193" y="66"/>
                        </a:cubicBezTo>
                        <a:cubicBezTo>
                          <a:pt x="194" y="67"/>
                          <a:pt x="194" y="68"/>
                          <a:pt x="195" y="69"/>
                        </a:cubicBezTo>
                        <a:cubicBezTo>
                          <a:pt x="195" y="69"/>
                          <a:pt x="197" y="70"/>
                          <a:pt x="198" y="70"/>
                        </a:cubicBezTo>
                        <a:cubicBezTo>
                          <a:pt x="200" y="70"/>
                          <a:pt x="202" y="70"/>
                          <a:pt x="204" y="72"/>
                        </a:cubicBezTo>
                        <a:cubicBezTo>
                          <a:pt x="204" y="72"/>
                          <a:pt x="204" y="73"/>
                          <a:pt x="205" y="73"/>
                        </a:cubicBezTo>
                        <a:cubicBezTo>
                          <a:pt x="205" y="73"/>
                          <a:pt x="206" y="73"/>
                          <a:pt x="206" y="74"/>
                        </a:cubicBezTo>
                        <a:cubicBezTo>
                          <a:pt x="207" y="75"/>
                          <a:pt x="207" y="75"/>
                          <a:pt x="207" y="77"/>
                        </a:cubicBezTo>
                        <a:cubicBezTo>
                          <a:pt x="205" y="77"/>
                          <a:pt x="197" y="80"/>
                          <a:pt x="201" y="82"/>
                        </a:cubicBezTo>
                        <a:cubicBezTo>
                          <a:pt x="202" y="82"/>
                          <a:pt x="205" y="81"/>
                          <a:pt x="206" y="81"/>
                        </a:cubicBezTo>
                        <a:cubicBezTo>
                          <a:pt x="208" y="81"/>
                          <a:pt x="209" y="81"/>
                          <a:pt x="211" y="81"/>
                        </a:cubicBezTo>
                        <a:cubicBezTo>
                          <a:pt x="213" y="81"/>
                          <a:pt x="214" y="82"/>
                          <a:pt x="216" y="81"/>
                        </a:cubicBezTo>
                        <a:cubicBezTo>
                          <a:pt x="218" y="81"/>
                          <a:pt x="218" y="80"/>
                          <a:pt x="220" y="81"/>
                        </a:cubicBezTo>
                        <a:cubicBezTo>
                          <a:pt x="222" y="82"/>
                          <a:pt x="223" y="83"/>
                          <a:pt x="225" y="81"/>
                        </a:cubicBezTo>
                        <a:cubicBezTo>
                          <a:pt x="226" y="79"/>
                          <a:pt x="225" y="78"/>
                          <a:pt x="228" y="77"/>
                        </a:cubicBezTo>
                        <a:cubicBezTo>
                          <a:pt x="230" y="77"/>
                          <a:pt x="233" y="78"/>
                          <a:pt x="236" y="78"/>
                        </a:cubicBezTo>
                        <a:cubicBezTo>
                          <a:pt x="236" y="77"/>
                          <a:pt x="237" y="77"/>
                          <a:pt x="237" y="76"/>
                        </a:cubicBezTo>
                        <a:cubicBezTo>
                          <a:pt x="238" y="76"/>
                          <a:pt x="239" y="76"/>
                          <a:pt x="239" y="75"/>
                        </a:cubicBezTo>
                        <a:cubicBezTo>
                          <a:pt x="240" y="75"/>
                          <a:pt x="241" y="74"/>
                          <a:pt x="242" y="73"/>
                        </a:cubicBezTo>
                        <a:cubicBezTo>
                          <a:pt x="243" y="73"/>
                          <a:pt x="244" y="74"/>
                          <a:pt x="245" y="74"/>
                        </a:cubicBezTo>
                        <a:cubicBezTo>
                          <a:pt x="246" y="73"/>
                          <a:pt x="247" y="73"/>
                          <a:pt x="248" y="72"/>
                        </a:cubicBezTo>
                        <a:cubicBezTo>
                          <a:pt x="250" y="71"/>
                          <a:pt x="252" y="71"/>
                          <a:pt x="254" y="70"/>
                        </a:cubicBezTo>
                        <a:cubicBezTo>
                          <a:pt x="256" y="69"/>
                          <a:pt x="258" y="68"/>
                          <a:pt x="260" y="67"/>
                        </a:cubicBezTo>
                        <a:cubicBezTo>
                          <a:pt x="263" y="66"/>
                          <a:pt x="269" y="68"/>
                          <a:pt x="272" y="68"/>
                        </a:cubicBezTo>
                        <a:cubicBezTo>
                          <a:pt x="274" y="68"/>
                          <a:pt x="277" y="69"/>
                          <a:pt x="278" y="68"/>
                        </a:cubicBezTo>
                        <a:cubicBezTo>
                          <a:pt x="280" y="68"/>
                          <a:pt x="280" y="66"/>
                          <a:pt x="281" y="64"/>
                        </a:cubicBezTo>
                        <a:cubicBezTo>
                          <a:pt x="282" y="64"/>
                          <a:pt x="283" y="62"/>
                          <a:pt x="286" y="63"/>
                        </a:cubicBezTo>
                        <a:cubicBezTo>
                          <a:pt x="287" y="64"/>
                          <a:pt x="288" y="65"/>
                          <a:pt x="288" y="67"/>
                        </a:cubicBezTo>
                        <a:cubicBezTo>
                          <a:pt x="291" y="67"/>
                          <a:pt x="295" y="69"/>
                          <a:pt x="298" y="70"/>
                        </a:cubicBezTo>
                        <a:cubicBezTo>
                          <a:pt x="302" y="72"/>
                          <a:pt x="304" y="73"/>
                          <a:pt x="308" y="72"/>
                        </a:cubicBezTo>
                        <a:cubicBezTo>
                          <a:pt x="313" y="71"/>
                          <a:pt x="314" y="72"/>
                          <a:pt x="316" y="76"/>
                        </a:cubicBezTo>
                        <a:cubicBezTo>
                          <a:pt x="317" y="77"/>
                          <a:pt x="318" y="79"/>
                          <a:pt x="320" y="80"/>
                        </a:cubicBezTo>
                        <a:cubicBezTo>
                          <a:pt x="321" y="80"/>
                          <a:pt x="322" y="80"/>
                          <a:pt x="323" y="80"/>
                        </a:cubicBezTo>
                        <a:cubicBezTo>
                          <a:pt x="323" y="81"/>
                          <a:pt x="324" y="81"/>
                          <a:pt x="324" y="81"/>
                        </a:cubicBezTo>
                        <a:cubicBezTo>
                          <a:pt x="325" y="83"/>
                          <a:pt x="326" y="84"/>
                          <a:pt x="326" y="85"/>
                        </a:cubicBezTo>
                        <a:cubicBezTo>
                          <a:pt x="328" y="88"/>
                          <a:pt x="326" y="88"/>
                          <a:pt x="325" y="90"/>
                        </a:cubicBezTo>
                        <a:cubicBezTo>
                          <a:pt x="323" y="93"/>
                          <a:pt x="325" y="97"/>
                          <a:pt x="323" y="100"/>
                        </a:cubicBezTo>
                        <a:cubicBezTo>
                          <a:pt x="319" y="101"/>
                          <a:pt x="321" y="107"/>
                          <a:pt x="320" y="110"/>
                        </a:cubicBezTo>
                        <a:cubicBezTo>
                          <a:pt x="319" y="110"/>
                          <a:pt x="319" y="112"/>
                          <a:pt x="319" y="113"/>
                        </a:cubicBezTo>
                        <a:cubicBezTo>
                          <a:pt x="318" y="115"/>
                          <a:pt x="318" y="115"/>
                          <a:pt x="317" y="116"/>
                        </a:cubicBezTo>
                        <a:cubicBezTo>
                          <a:pt x="315" y="119"/>
                          <a:pt x="315" y="121"/>
                          <a:pt x="315" y="124"/>
                        </a:cubicBezTo>
                        <a:cubicBezTo>
                          <a:pt x="312" y="124"/>
                          <a:pt x="310" y="123"/>
                          <a:pt x="307" y="124"/>
                        </a:cubicBezTo>
                        <a:cubicBezTo>
                          <a:pt x="305" y="126"/>
                          <a:pt x="303" y="127"/>
                          <a:pt x="302" y="129"/>
                        </a:cubicBezTo>
                        <a:cubicBezTo>
                          <a:pt x="302" y="130"/>
                          <a:pt x="303" y="132"/>
                          <a:pt x="302" y="133"/>
                        </a:cubicBezTo>
                        <a:cubicBezTo>
                          <a:pt x="301" y="134"/>
                          <a:pt x="298" y="133"/>
                          <a:pt x="297" y="133"/>
                        </a:cubicBezTo>
                        <a:cubicBezTo>
                          <a:pt x="295" y="133"/>
                          <a:pt x="293" y="134"/>
                          <a:pt x="291" y="134"/>
                        </a:cubicBezTo>
                        <a:cubicBezTo>
                          <a:pt x="292" y="135"/>
                          <a:pt x="293" y="137"/>
                          <a:pt x="293" y="138"/>
                        </a:cubicBezTo>
                        <a:cubicBezTo>
                          <a:pt x="293" y="140"/>
                          <a:pt x="292" y="141"/>
                          <a:pt x="292" y="142"/>
                        </a:cubicBezTo>
                        <a:cubicBezTo>
                          <a:pt x="292" y="143"/>
                          <a:pt x="293" y="144"/>
                          <a:pt x="293" y="145"/>
                        </a:cubicBezTo>
                        <a:cubicBezTo>
                          <a:pt x="293" y="147"/>
                          <a:pt x="291" y="149"/>
                          <a:pt x="289" y="150"/>
                        </a:cubicBezTo>
                        <a:cubicBezTo>
                          <a:pt x="288" y="151"/>
                          <a:pt x="287" y="150"/>
                          <a:pt x="287" y="152"/>
                        </a:cubicBezTo>
                        <a:cubicBezTo>
                          <a:pt x="287" y="152"/>
                          <a:pt x="287" y="154"/>
                          <a:pt x="287" y="154"/>
                        </a:cubicBezTo>
                        <a:cubicBezTo>
                          <a:pt x="285" y="154"/>
                          <a:pt x="284" y="154"/>
                          <a:pt x="282" y="154"/>
                        </a:cubicBezTo>
                        <a:cubicBezTo>
                          <a:pt x="279" y="155"/>
                          <a:pt x="278" y="154"/>
                          <a:pt x="276" y="153"/>
                        </a:cubicBezTo>
                        <a:cubicBezTo>
                          <a:pt x="275" y="153"/>
                          <a:pt x="274" y="153"/>
                          <a:pt x="273" y="153"/>
                        </a:cubicBezTo>
                        <a:cubicBezTo>
                          <a:pt x="272" y="153"/>
                          <a:pt x="271" y="152"/>
                          <a:pt x="270" y="152"/>
                        </a:cubicBezTo>
                        <a:cubicBezTo>
                          <a:pt x="269" y="152"/>
                          <a:pt x="267" y="154"/>
                          <a:pt x="266" y="155"/>
                        </a:cubicBezTo>
                        <a:cubicBezTo>
                          <a:pt x="266" y="155"/>
                          <a:pt x="266" y="155"/>
                          <a:pt x="266" y="155"/>
                        </a:cubicBezTo>
                        <a:cubicBezTo>
                          <a:pt x="268" y="160"/>
                          <a:pt x="269" y="165"/>
                          <a:pt x="271" y="169"/>
                        </a:cubicBezTo>
                        <a:cubicBezTo>
                          <a:pt x="272" y="171"/>
                          <a:pt x="272" y="171"/>
                          <a:pt x="271" y="172"/>
                        </a:cubicBezTo>
                        <a:cubicBezTo>
                          <a:pt x="265" y="173"/>
                          <a:pt x="265" y="173"/>
                          <a:pt x="265" y="173"/>
                        </a:cubicBezTo>
                        <a:cubicBezTo>
                          <a:pt x="266" y="175"/>
                          <a:pt x="265" y="178"/>
                          <a:pt x="265" y="181"/>
                        </a:cubicBezTo>
                        <a:cubicBezTo>
                          <a:pt x="266" y="185"/>
                          <a:pt x="270" y="189"/>
                          <a:pt x="274" y="190"/>
                        </a:cubicBezTo>
                        <a:cubicBezTo>
                          <a:pt x="278" y="190"/>
                          <a:pt x="287" y="190"/>
                          <a:pt x="283" y="196"/>
                        </a:cubicBezTo>
                        <a:cubicBezTo>
                          <a:pt x="282" y="198"/>
                          <a:pt x="280" y="199"/>
                          <a:pt x="281" y="202"/>
                        </a:cubicBezTo>
                        <a:cubicBezTo>
                          <a:pt x="281" y="205"/>
                          <a:pt x="284" y="206"/>
                          <a:pt x="285" y="208"/>
                        </a:cubicBezTo>
                        <a:cubicBezTo>
                          <a:pt x="286" y="209"/>
                          <a:pt x="286" y="210"/>
                          <a:pt x="286" y="211"/>
                        </a:cubicBezTo>
                        <a:cubicBezTo>
                          <a:pt x="287" y="212"/>
                          <a:pt x="288" y="213"/>
                          <a:pt x="289" y="213"/>
                        </a:cubicBezTo>
                        <a:cubicBezTo>
                          <a:pt x="290" y="215"/>
                          <a:pt x="289" y="217"/>
                          <a:pt x="291" y="219"/>
                        </a:cubicBezTo>
                        <a:cubicBezTo>
                          <a:pt x="289" y="219"/>
                          <a:pt x="288" y="220"/>
                          <a:pt x="287" y="221"/>
                        </a:cubicBezTo>
                        <a:cubicBezTo>
                          <a:pt x="285" y="221"/>
                          <a:pt x="285" y="222"/>
                          <a:pt x="284" y="223"/>
                        </a:cubicBezTo>
                        <a:cubicBezTo>
                          <a:pt x="283" y="225"/>
                          <a:pt x="283" y="226"/>
                          <a:pt x="282" y="226"/>
                        </a:cubicBezTo>
                        <a:cubicBezTo>
                          <a:pt x="280" y="226"/>
                          <a:pt x="279" y="225"/>
                          <a:pt x="279" y="224"/>
                        </a:cubicBezTo>
                        <a:cubicBezTo>
                          <a:pt x="277" y="225"/>
                          <a:pt x="274" y="227"/>
                          <a:pt x="275" y="229"/>
                        </a:cubicBezTo>
                        <a:cubicBezTo>
                          <a:pt x="275" y="229"/>
                          <a:pt x="271" y="230"/>
                          <a:pt x="271" y="230"/>
                        </a:cubicBezTo>
                        <a:cubicBezTo>
                          <a:pt x="270" y="230"/>
                          <a:pt x="270" y="231"/>
                          <a:pt x="269" y="232"/>
                        </a:cubicBezTo>
                        <a:cubicBezTo>
                          <a:pt x="269" y="232"/>
                          <a:pt x="269" y="232"/>
                          <a:pt x="269" y="233"/>
                        </a:cubicBezTo>
                        <a:cubicBezTo>
                          <a:pt x="268" y="233"/>
                          <a:pt x="268" y="233"/>
                          <a:pt x="268" y="233"/>
                        </a:cubicBezTo>
                        <a:cubicBezTo>
                          <a:pt x="266" y="234"/>
                          <a:pt x="265" y="234"/>
                          <a:pt x="265" y="236"/>
                        </a:cubicBezTo>
                        <a:cubicBezTo>
                          <a:pt x="265" y="237"/>
                          <a:pt x="262" y="234"/>
                          <a:pt x="262" y="234"/>
                        </a:cubicBezTo>
                        <a:cubicBezTo>
                          <a:pt x="260" y="233"/>
                          <a:pt x="259" y="231"/>
                          <a:pt x="257" y="231"/>
                        </a:cubicBezTo>
                        <a:cubicBezTo>
                          <a:pt x="257" y="230"/>
                          <a:pt x="257" y="229"/>
                          <a:pt x="257" y="228"/>
                        </a:cubicBezTo>
                        <a:cubicBezTo>
                          <a:pt x="256" y="228"/>
                          <a:pt x="256" y="227"/>
                          <a:pt x="255" y="227"/>
                        </a:cubicBezTo>
                        <a:cubicBezTo>
                          <a:pt x="254" y="224"/>
                          <a:pt x="256" y="221"/>
                          <a:pt x="256" y="218"/>
                        </a:cubicBezTo>
                        <a:cubicBezTo>
                          <a:pt x="255" y="218"/>
                          <a:pt x="255" y="218"/>
                          <a:pt x="255" y="218"/>
                        </a:cubicBezTo>
                        <a:cubicBezTo>
                          <a:pt x="254" y="219"/>
                          <a:pt x="253" y="219"/>
                          <a:pt x="253" y="221"/>
                        </a:cubicBezTo>
                        <a:cubicBezTo>
                          <a:pt x="250" y="221"/>
                          <a:pt x="244" y="221"/>
                          <a:pt x="243" y="225"/>
                        </a:cubicBezTo>
                        <a:cubicBezTo>
                          <a:pt x="242" y="225"/>
                          <a:pt x="240" y="225"/>
                          <a:pt x="241" y="227"/>
                        </a:cubicBezTo>
                        <a:cubicBezTo>
                          <a:pt x="241" y="227"/>
                          <a:pt x="243" y="228"/>
                          <a:pt x="243" y="228"/>
                        </a:cubicBezTo>
                        <a:cubicBezTo>
                          <a:pt x="244" y="229"/>
                          <a:pt x="245" y="230"/>
                          <a:pt x="245" y="231"/>
                        </a:cubicBezTo>
                        <a:cubicBezTo>
                          <a:pt x="244" y="231"/>
                          <a:pt x="244" y="231"/>
                          <a:pt x="244" y="231"/>
                        </a:cubicBezTo>
                        <a:cubicBezTo>
                          <a:pt x="243" y="231"/>
                          <a:pt x="243" y="231"/>
                          <a:pt x="242" y="230"/>
                        </a:cubicBezTo>
                        <a:cubicBezTo>
                          <a:pt x="241" y="229"/>
                          <a:pt x="241" y="228"/>
                          <a:pt x="239" y="228"/>
                        </a:cubicBezTo>
                        <a:cubicBezTo>
                          <a:pt x="238" y="228"/>
                          <a:pt x="236" y="228"/>
                          <a:pt x="235" y="229"/>
                        </a:cubicBezTo>
                        <a:cubicBezTo>
                          <a:pt x="236" y="228"/>
                          <a:pt x="236" y="226"/>
                          <a:pt x="238" y="227"/>
                        </a:cubicBezTo>
                        <a:cubicBezTo>
                          <a:pt x="239" y="224"/>
                          <a:pt x="242" y="212"/>
                          <a:pt x="235" y="216"/>
                        </a:cubicBezTo>
                        <a:cubicBezTo>
                          <a:pt x="234" y="216"/>
                          <a:pt x="234" y="217"/>
                          <a:pt x="234" y="217"/>
                        </a:cubicBezTo>
                        <a:cubicBezTo>
                          <a:pt x="233" y="217"/>
                          <a:pt x="232" y="217"/>
                          <a:pt x="232" y="217"/>
                        </a:cubicBezTo>
                        <a:cubicBezTo>
                          <a:pt x="231" y="218"/>
                          <a:pt x="231" y="219"/>
                          <a:pt x="229" y="219"/>
                        </a:cubicBezTo>
                        <a:cubicBezTo>
                          <a:pt x="228" y="220"/>
                          <a:pt x="227" y="219"/>
                          <a:pt x="225" y="219"/>
                        </a:cubicBezTo>
                        <a:cubicBezTo>
                          <a:pt x="224" y="218"/>
                          <a:pt x="223" y="219"/>
                          <a:pt x="221" y="218"/>
                        </a:cubicBezTo>
                        <a:cubicBezTo>
                          <a:pt x="221" y="217"/>
                          <a:pt x="222" y="215"/>
                          <a:pt x="221" y="214"/>
                        </a:cubicBezTo>
                        <a:cubicBezTo>
                          <a:pt x="221" y="212"/>
                          <a:pt x="219" y="211"/>
                          <a:pt x="218" y="210"/>
                        </a:cubicBezTo>
                        <a:cubicBezTo>
                          <a:pt x="217" y="208"/>
                          <a:pt x="215" y="208"/>
                          <a:pt x="214" y="206"/>
                        </a:cubicBezTo>
                        <a:cubicBezTo>
                          <a:pt x="213" y="205"/>
                          <a:pt x="214" y="203"/>
                          <a:pt x="214" y="202"/>
                        </a:cubicBezTo>
                        <a:cubicBezTo>
                          <a:pt x="211" y="201"/>
                          <a:pt x="209" y="204"/>
                          <a:pt x="207" y="204"/>
                        </a:cubicBezTo>
                        <a:cubicBezTo>
                          <a:pt x="204" y="205"/>
                          <a:pt x="201" y="206"/>
                          <a:pt x="198" y="206"/>
                        </a:cubicBezTo>
                        <a:cubicBezTo>
                          <a:pt x="195" y="206"/>
                          <a:pt x="192" y="206"/>
                          <a:pt x="190" y="204"/>
                        </a:cubicBezTo>
                        <a:cubicBezTo>
                          <a:pt x="189" y="202"/>
                          <a:pt x="189" y="201"/>
                          <a:pt x="187" y="201"/>
                        </a:cubicBezTo>
                        <a:cubicBezTo>
                          <a:pt x="186" y="201"/>
                          <a:pt x="184" y="201"/>
                          <a:pt x="182" y="201"/>
                        </a:cubicBezTo>
                        <a:cubicBezTo>
                          <a:pt x="182" y="200"/>
                          <a:pt x="180" y="199"/>
                          <a:pt x="179" y="197"/>
                        </a:cubicBezTo>
                        <a:cubicBezTo>
                          <a:pt x="178" y="195"/>
                          <a:pt x="179" y="195"/>
                          <a:pt x="176" y="195"/>
                        </a:cubicBezTo>
                        <a:cubicBezTo>
                          <a:pt x="175" y="195"/>
                          <a:pt x="173" y="195"/>
                          <a:pt x="172" y="194"/>
                        </a:cubicBezTo>
                        <a:cubicBezTo>
                          <a:pt x="170" y="193"/>
                          <a:pt x="171" y="191"/>
                          <a:pt x="171" y="190"/>
                        </a:cubicBezTo>
                        <a:cubicBezTo>
                          <a:pt x="167" y="189"/>
                          <a:pt x="163" y="189"/>
                          <a:pt x="159" y="189"/>
                        </a:cubicBezTo>
                        <a:cubicBezTo>
                          <a:pt x="155" y="189"/>
                          <a:pt x="151" y="188"/>
                          <a:pt x="150" y="192"/>
                        </a:cubicBezTo>
                        <a:cubicBezTo>
                          <a:pt x="148" y="193"/>
                          <a:pt x="149" y="196"/>
                          <a:pt x="146" y="197"/>
                        </a:cubicBezTo>
                        <a:cubicBezTo>
                          <a:pt x="145" y="198"/>
                          <a:pt x="142" y="197"/>
                          <a:pt x="140" y="197"/>
                        </a:cubicBezTo>
                        <a:cubicBezTo>
                          <a:pt x="139" y="198"/>
                          <a:pt x="139" y="199"/>
                          <a:pt x="139" y="200"/>
                        </a:cubicBezTo>
                        <a:cubicBezTo>
                          <a:pt x="138" y="200"/>
                          <a:pt x="138" y="200"/>
                          <a:pt x="137" y="200"/>
                        </a:cubicBezTo>
                        <a:cubicBezTo>
                          <a:pt x="137" y="201"/>
                          <a:pt x="137" y="201"/>
                          <a:pt x="136" y="202"/>
                        </a:cubicBezTo>
                        <a:cubicBezTo>
                          <a:pt x="135" y="203"/>
                          <a:pt x="135" y="203"/>
                          <a:pt x="133" y="202"/>
                        </a:cubicBezTo>
                        <a:cubicBezTo>
                          <a:pt x="132" y="202"/>
                          <a:pt x="132" y="201"/>
                          <a:pt x="131" y="200"/>
                        </a:cubicBezTo>
                        <a:cubicBezTo>
                          <a:pt x="130" y="200"/>
                          <a:pt x="130" y="200"/>
                          <a:pt x="129" y="200"/>
                        </a:cubicBezTo>
                        <a:cubicBezTo>
                          <a:pt x="128" y="202"/>
                          <a:pt x="128" y="203"/>
                          <a:pt x="128" y="204"/>
                        </a:cubicBezTo>
                        <a:cubicBezTo>
                          <a:pt x="130" y="204"/>
                          <a:pt x="131" y="204"/>
                          <a:pt x="131" y="206"/>
                        </a:cubicBezTo>
                        <a:cubicBezTo>
                          <a:pt x="132" y="208"/>
                          <a:pt x="131" y="209"/>
                          <a:pt x="131" y="211"/>
                        </a:cubicBezTo>
                        <a:cubicBezTo>
                          <a:pt x="130" y="214"/>
                          <a:pt x="131" y="217"/>
                          <a:pt x="128" y="219"/>
                        </a:cubicBezTo>
                        <a:cubicBezTo>
                          <a:pt x="128" y="219"/>
                          <a:pt x="127" y="219"/>
                          <a:pt x="127" y="220"/>
                        </a:cubicBezTo>
                        <a:cubicBezTo>
                          <a:pt x="126" y="220"/>
                          <a:pt x="126" y="220"/>
                          <a:pt x="126" y="220"/>
                        </a:cubicBezTo>
                        <a:cubicBezTo>
                          <a:pt x="125" y="220"/>
                          <a:pt x="126" y="221"/>
                          <a:pt x="125" y="221"/>
                        </a:cubicBezTo>
                        <a:cubicBezTo>
                          <a:pt x="123" y="222"/>
                          <a:pt x="123" y="220"/>
                          <a:pt x="122" y="223"/>
                        </a:cubicBezTo>
                        <a:cubicBezTo>
                          <a:pt x="122" y="224"/>
                          <a:pt x="122" y="225"/>
                          <a:pt x="120" y="225"/>
                        </a:cubicBezTo>
                        <a:cubicBezTo>
                          <a:pt x="118" y="225"/>
                          <a:pt x="117" y="225"/>
                          <a:pt x="115" y="225"/>
                        </a:cubicBezTo>
                        <a:cubicBezTo>
                          <a:pt x="115" y="227"/>
                          <a:pt x="113" y="226"/>
                          <a:pt x="113" y="228"/>
                        </a:cubicBezTo>
                        <a:cubicBezTo>
                          <a:pt x="111" y="229"/>
                          <a:pt x="110" y="228"/>
                          <a:pt x="108" y="227"/>
                        </a:cubicBezTo>
                        <a:cubicBezTo>
                          <a:pt x="107" y="227"/>
                          <a:pt x="106" y="227"/>
                          <a:pt x="105" y="227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21" name="Freeform 440">
                    <a:extLst>
                      <a:ext uri="{FF2B5EF4-FFF2-40B4-BE49-F238E27FC236}">
                        <a16:creationId xmlns:a16="http://schemas.microsoft.com/office/drawing/2014/main" xmlns="" id="{569DDBD1-6540-44D9-9332-E91027660BD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88051" y="3355976"/>
                    <a:ext cx="187325" cy="257175"/>
                  </a:xfrm>
                  <a:custGeom>
                    <a:avLst/>
                    <a:gdLst>
                      <a:gd name="T0" fmla="*/ 51 w 53"/>
                      <a:gd name="T1" fmla="*/ 19 h 73"/>
                      <a:gd name="T2" fmla="*/ 52 w 53"/>
                      <a:gd name="T3" fmla="*/ 15 h 73"/>
                      <a:gd name="T4" fmla="*/ 50 w 53"/>
                      <a:gd name="T5" fmla="*/ 12 h 73"/>
                      <a:gd name="T6" fmla="*/ 50 w 53"/>
                      <a:gd name="T7" fmla="*/ 7 h 73"/>
                      <a:gd name="T8" fmla="*/ 45 w 53"/>
                      <a:gd name="T9" fmla="*/ 7 h 73"/>
                      <a:gd name="T10" fmla="*/ 45 w 53"/>
                      <a:gd name="T11" fmla="*/ 1 h 73"/>
                      <a:gd name="T12" fmla="*/ 44 w 53"/>
                      <a:gd name="T13" fmla="*/ 0 h 73"/>
                      <a:gd name="T14" fmla="*/ 41 w 53"/>
                      <a:gd name="T15" fmla="*/ 3 h 73"/>
                      <a:gd name="T16" fmla="*/ 41 w 53"/>
                      <a:gd name="T17" fmla="*/ 3 h 73"/>
                      <a:gd name="T18" fmla="*/ 40 w 53"/>
                      <a:gd name="T19" fmla="*/ 6 h 73"/>
                      <a:gd name="T20" fmla="*/ 36 w 53"/>
                      <a:gd name="T21" fmla="*/ 4 h 73"/>
                      <a:gd name="T22" fmla="*/ 35 w 53"/>
                      <a:gd name="T23" fmla="*/ 7 h 73"/>
                      <a:gd name="T24" fmla="*/ 35 w 53"/>
                      <a:gd name="T25" fmla="*/ 9 h 73"/>
                      <a:gd name="T26" fmla="*/ 33 w 53"/>
                      <a:gd name="T27" fmla="*/ 10 h 73"/>
                      <a:gd name="T28" fmla="*/ 32 w 53"/>
                      <a:gd name="T29" fmla="*/ 16 h 73"/>
                      <a:gd name="T30" fmla="*/ 28 w 53"/>
                      <a:gd name="T31" fmla="*/ 13 h 73"/>
                      <a:gd name="T32" fmla="*/ 25 w 53"/>
                      <a:gd name="T33" fmla="*/ 16 h 73"/>
                      <a:gd name="T34" fmla="*/ 22 w 53"/>
                      <a:gd name="T35" fmla="*/ 14 h 73"/>
                      <a:gd name="T36" fmla="*/ 21 w 53"/>
                      <a:gd name="T37" fmla="*/ 17 h 73"/>
                      <a:gd name="T38" fmla="*/ 18 w 53"/>
                      <a:gd name="T39" fmla="*/ 20 h 73"/>
                      <a:gd name="T40" fmla="*/ 14 w 53"/>
                      <a:gd name="T41" fmla="*/ 20 h 73"/>
                      <a:gd name="T42" fmla="*/ 10 w 53"/>
                      <a:gd name="T43" fmla="*/ 19 h 73"/>
                      <a:gd name="T44" fmla="*/ 10 w 53"/>
                      <a:gd name="T45" fmla="*/ 22 h 73"/>
                      <a:gd name="T46" fmla="*/ 5 w 53"/>
                      <a:gd name="T47" fmla="*/ 24 h 73"/>
                      <a:gd name="T48" fmla="*/ 4 w 53"/>
                      <a:gd name="T49" fmla="*/ 30 h 73"/>
                      <a:gd name="T50" fmla="*/ 1 w 53"/>
                      <a:gd name="T51" fmla="*/ 35 h 73"/>
                      <a:gd name="T52" fmla="*/ 4 w 53"/>
                      <a:gd name="T53" fmla="*/ 41 h 73"/>
                      <a:gd name="T54" fmla="*/ 4 w 53"/>
                      <a:gd name="T55" fmla="*/ 43 h 73"/>
                      <a:gd name="T56" fmla="*/ 5 w 53"/>
                      <a:gd name="T57" fmla="*/ 47 h 73"/>
                      <a:gd name="T58" fmla="*/ 7 w 53"/>
                      <a:gd name="T59" fmla="*/ 50 h 73"/>
                      <a:gd name="T60" fmla="*/ 7 w 53"/>
                      <a:gd name="T61" fmla="*/ 54 h 73"/>
                      <a:gd name="T62" fmla="*/ 9 w 53"/>
                      <a:gd name="T63" fmla="*/ 58 h 73"/>
                      <a:gd name="T64" fmla="*/ 8 w 53"/>
                      <a:gd name="T65" fmla="*/ 62 h 73"/>
                      <a:gd name="T66" fmla="*/ 9 w 53"/>
                      <a:gd name="T67" fmla="*/ 66 h 73"/>
                      <a:gd name="T68" fmla="*/ 12 w 53"/>
                      <a:gd name="T69" fmla="*/ 67 h 73"/>
                      <a:gd name="T70" fmla="*/ 15 w 53"/>
                      <a:gd name="T71" fmla="*/ 57 h 73"/>
                      <a:gd name="T72" fmla="*/ 19 w 53"/>
                      <a:gd name="T73" fmla="*/ 70 h 73"/>
                      <a:gd name="T74" fmla="*/ 30 w 53"/>
                      <a:gd name="T75" fmla="*/ 65 h 73"/>
                      <a:gd name="T76" fmla="*/ 29 w 53"/>
                      <a:gd name="T77" fmla="*/ 61 h 73"/>
                      <a:gd name="T78" fmla="*/ 28 w 53"/>
                      <a:gd name="T79" fmla="*/ 56 h 73"/>
                      <a:gd name="T80" fmla="*/ 31 w 53"/>
                      <a:gd name="T81" fmla="*/ 51 h 73"/>
                      <a:gd name="T82" fmla="*/ 36 w 53"/>
                      <a:gd name="T83" fmla="*/ 48 h 73"/>
                      <a:gd name="T84" fmla="*/ 34 w 53"/>
                      <a:gd name="T85" fmla="*/ 42 h 73"/>
                      <a:gd name="T86" fmla="*/ 34 w 53"/>
                      <a:gd name="T87" fmla="*/ 35 h 73"/>
                      <a:gd name="T88" fmla="*/ 37 w 53"/>
                      <a:gd name="T89" fmla="*/ 39 h 73"/>
                      <a:gd name="T90" fmla="*/ 44 w 53"/>
                      <a:gd name="T91" fmla="*/ 35 h 73"/>
                      <a:gd name="T92" fmla="*/ 46 w 53"/>
                      <a:gd name="T93" fmla="*/ 38 h 73"/>
                      <a:gd name="T94" fmla="*/ 48 w 53"/>
                      <a:gd name="T95" fmla="*/ 36 h 73"/>
                      <a:gd name="T96" fmla="*/ 50 w 53"/>
                      <a:gd name="T97" fmla="*/ 33 h 73"/>
                      <a:gd name="T98" fmla="*/ 51 w 53"/>
                      <a:gd name="T99" fmla="*/ 33 h 73"/>
                      <a:gd name="T100" fmla="*/ 53 w 53"/>
                      <a:gd name="T101" fmla="*/ 23 h 73"/>
                      <a:gd name="T102" fmla="*/ 51 w 53"/>
                      <a:gd name="T103" fmla="*/ 19 h 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53" h="73">
                        <a:moveTo>
                          <a:pt x="51" y="19"/>
                        </a:moveTo>
                        <a:cubicBezTo>
                          <a:pt x="51" y="17"/>
                          <a:pt x="52" y="16"/>
                          <a:pt x="52" y="15"/>
                        </a:cubicBezTo>
                        <a:cubicBezTo>
                          <a:pt x="52" y="13"/>
                          <a:pt x="50" y="13"/>
                          <a:pt x="50" y="12"/>
                        </a:cubicBezTo>
                        <a:cubicBezTo>
                          <a:pt x="49" y="10"/>
                          <a:pt x="49" y="9"/>
                          <a:pt x="50" y="7"/>
                        </a:cubicBezTo>
                        <a:cubicBezTo>
                          <a:pt x="48" y="7"/>
                          <a:pt x="45" y="7"/>
                          <a:pt x="45" y="7"/>
                        </a:cubicBezTo>
                        <a:cubicBezTo>
                          <a:pt x="46" y="5"/>
                          <a:pt x="46" y="3"/>
                          <a:pt x="45" y="1"/>
                        </a:cubicBezTo>
                        <a:cubicBezTo>
                          <a:pt x="44" y="0"/>
                          <a:pt x="44" y="0"/>
                          <a:pt x="44" y="0"/>
                        </a:cubicBezTo>
                        <a:cubicBezTo>
                          <a:pt x="42" y="1"/>
                          <a:pt x="42" y="2"/>
                          <a:pt x="41" y="3"/>
                        </a:cubicBezTo>
                        <a:cubicBezTo>
                          <a:pt x="41" y="3"/>
                          <a:pt x="41" y="3"/>
                          <a:pt x="41" y="3"/>
                        </a:cubicBezTo>
                        <a:cubicBezTo>
                          <a:pt x="41" y="4"/>
                          <a:pt x="41" y="6"/>
                          <a:pt x="40" y="6"/>
                        </a:cubicBezTo>
                        <a:cubicBezTo>
                          <a:pt x="38" y="7"/>
                          <a:pt x="37" y="5"/>
                          <a:pt x="36" y="4"/>
                        </a:cubicBezTo>
                        <a:cubicBezTo>
                          <a:pt x="36" y="5"/>
                          <a:pt x="35" y="5"/>
                          <a:pt x="35" y="7"/>
                        </a:cubicBezTo>
                        <a:cubicBezTo>
                          <a:pt x="35" y="7"/>
                          <a:pt x="35" y="8"/>
                          <a:pt x="35" y="9"/>
                        </a:cubicBezTo>
                        <a:cubicBezTo>
                          <a:pt x="34" y="9"/>
                          <a:pt x="34" y="9"/>
                          <a:pt x="33" y="10"/>
                        </a:cubicBezTo>
                        <a:cubicBezTo>
                          <a:pt x="32" y="12"/>
                          <a:pt x="34" y="14"/>
                          <a:pt x="32" y="16"/>
                        </a:cubicBezTo>
                        <a:cubicBezTo>
                          <a:pt x="31" y="15"/>
                          <a:pt x="30" y="13"/>
                          <a:pt x="28" y="13"/>
                        </a:cubicBezTo>
                        <a:cubicBezTo>
                          <a:pt x="26" y="13"/>
                          <a:pt x="25" y="14"/>
                          <a:pt x="25" y="16"/>
                        </a:cubicBezTo>
                        <a:cubicBezTo>
                          <a:pt x="24" y="16"/>
                          <a:pt x="23" y="15"/>
                          <a:pt x="22" y="14"/>
                        </a:cubicBezTo>
                        <a:cubicBezTo>
                          <a:pt x="21" y="15"/>
                          <a:pt x="22" y="16"/>
                          <a:pt x="21" y="17"/>
                        </a:cubicBezTo>
                        <a:cubicBezTo>
                          <a:pt x="20" y="18"/>
                          <a:pt x="19" y="19"/>
                          <a:pt x="18" y="20"/>
                        </a:cubicBezTo>
                        <a:cubicBezTo>
                          <a:pt x="17" y="21"/>
                          <a:pt x="16" y="20"/>
                          <a:pt x="14" y="20"/>
                        </a:cubicBezTo>
                        <a:cubicBezTo>
                          <a:pt x="13" y="19"/>
                          <a:pt x="12" y="19"/>
                          <a:pt x="10" y="19"/>
                        </a:cubicBezTo>
                        <a:cubicBezTo>
                          <a:pt x="10" y="20"/>
                          <a:pt x="10" y="21"/>
                          <a:pt x="10" y="22"/>
                        </a:cubicBezTo>
                        <a:cubicBezTo>
                          <a:pt x="8" y="22"/>
                          <a:pt x="7" y="24"/>
                          <a:pt x="5" y="24"/>
                        </a:cubicBezTo>
                        <a:cubicBezTo>
                          <a:pt x="4" y="26"/>
                          <a:pt x="5" y="28"/>
                          <a:pt x="4" y="30"/>
                        </a:cubicBezTo>
                        <a:cubicBezTo>
                          <a:pt x="4" y="32"/>
                          <a:pt x="2" y="33"/>
                          <a:pt x="1" y="35"/>
                        </a:cubicBezTo>
                        <a:cubicBezTo>
                          <a:pt x="0" y="38"/>
                          <a:pt x="3" y="38"/>
                          <a:pt x="4" y="41"/>
                        </a:cubicBezTo>
                        <a:cubicBezTo>
                          <a:pt x="4" y="42"/>
                          <a:pt x="3" y="42"/>
                          <a:pt x="4" y="43"/>
                        </a:cubicBezTo>
                        <a:cubicBezTo>
                          <a:pt x="4" y="44"/>
                          <a:pt x="5" y="46"/>
                          <a:pt x="5" y="47"/>
                        </a:cubicBezTo>
                        <a:cubicBezTo>
                          <a:pt x="6" y="48"/>
                          <a:pt x="6" y="49"/>
                          <a:pt x="7" y="50"/>
                        </a:cubicBezTo>
                        <a:cubicBezTo>
                          <a:pt x="7" y="51"/>
                          <a:pt x="7" y="52"/>
                          <a:pt x="7" y="54"/>
                        </a:cubicBezTo>
                        <a:cubicBezTo>
                          <a:pt x="7" y="55"/>
                          <a:pt x="9" y="56"/>
                          <a:pt x="9" y="58"/>
                        </a:cubicBezTo>
                        <a:cubicBezTo>
                          <a:pt x="9" y="59"/>
                          <a:pt x="8" y="61"/>
                          <a:pt x="8" y="62"/>
                        </a:cubicBezTo>
                        <a:cubicBezTo>
                          <a:pt x="8" y="63"/>
                          <a:pt x="8" y="65"/>
                          <a:pt x="9" y="66"/>
                        </a:cubicBezTo>
                        <a:cubicBezTo>
                          <a:pt x="9" y="66"/>
                          <a:pt x="12" y="68"/>
                          <a:pt x="12" y="67"/>
                        </a:cubicBezTo>
                        <a:cubicBezTo>
                          <a:pt x="12" y="65"/>
                          <a:pt x="11" y="54"/>
                          <a:pt x="15" y="57"/>
                        </a:cubicBezTo>
                        <a:cubicBezTo>
                          <a:pt x="19" y="60"/>
                          <a:pt x="16" y="67"/>
                          <a:pt x="19" y="70"/>
                        </a:cubicBezTo>
                        <a:cubicBezTo>
                          <a:pt x="22" y="73"/>
                          <a:pt x="30" y="69"/>
                          <a:pt x="30" y="65"/>
                        </a:cubicBezTo>
                        <a:cubicBezTo>
                          <a:pt x="30" y="64"/>
                          <a:pt x="29" y="62"/>
                          <a:pt x="29" y="61"/>
                        </a:cubicBezTo>
                        <a:cubicBezTo>
                          <a:pt x="28" y="60"/>
                          <a:pt x="27" y="57"/>
                          <a:pt x="28" y="56"/>
                        </a:cubicBezTo>
                        <a:cubicBezTo>
                          <a:pt x="29" y="54"/>
                          <a:pt x="31" y="53"/>
                          <a:pt x="31" y="51"/>
                        </a:cubicBezTo>
                        <a:cubicBezTo>
                          <a:pt x="32" y="49"/>
                          <a:pt x="33" y="48"/>
                          <a:pt x="36" y="48"/>
                        </a:cubicBezTo>
                        <a:cubicBezTo>
                          <a:pt x="36" y="45"/>
                          <a:pt x="34" y="44"/>
                          <a:pt x="34" y="42"/>
                        </a:cubicBezTo>
                        <a:cubicBezTo>
                          <a:pt x="34" y="40"/>
                          <a:pt x="33" y="37"/>
                          <a:pt x="34" y="35"/>
                        </a:cubicBezTo>
                        <a:cubicBezTo>
                          <a:pt x="37" y="34"/>
                          <a:pt x="35" y="38"/>
                          <a:pt x="37" y="39"/>
                        </a:cubicBezTo>
                        <a:cubicBezTo>
                          <a:pt x="40" y="41"/>
                          <a:pt x="42" y="36"/>
                          <a:pt x="44" y="35"/>
                        </a:cubicBezTo>
                        <a:cubicBezTo>
                          <a:pt x="46" y="35"/>
                          <a:pt x="46" y="37"/>
                          <a:pt x="46" y="38"/>
                        </a:cubicBezTo>
                        <a:cubicBezTo>
                          <a:pt x="46" y="37"/>
                          <a:pt x="48" y="36"/>
                          <a:pt x="48" y="36"/>
                        </a:cubicBezTo>
                        <a:cubicBezTo>
                          <a:pt x="49" y="35"/>
                          <a:pt x="49" y="33"/>
                          <a:pt x="50" y="33"/>
                        </a:cubicBezTo>
                        <a:cubicBezTo>
                          <a:pt x="51" y="32"/>
                          <a:pt x="51" y="32"/>
                          <a:pt x="51" y="33"/>
                        </a:cubicBezTo>
                        <a:cubicBezTo>
                          <a:pt x="52" y="29"/>
                          <a:pt x="53" y="26"/>
                          <a:pt x="53" y="23"/>
                        </a:cubicBezTo>
                        <a:cubicBezTo>
                          <a:pt x="53" y="21"/>
                          <a:pt x="52" y="20"/>
                          <a:pt x="51" y="19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22" name="Freeform 441">
                    <a:extLst>
                      <a:ext uri="{FF2B5EF4-FFF2-40B4-BE49-F238E27FC236}">
                        <a16:creationId xmlns:a16="http://schemas.microsoft.com/office/drawing/2014/main" xmlns="" id="{FD986B4B-0FC9-4DF3-A0A4-043A4F00CE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73538" y="3408363"/>
                    <a:ext cx="700088" cy="1125538"/>
                  </a:xfrm>
                  <a:custGeom>
                    <a:avLst/>
                    <a:gdLst>
                      <a:gd name="T0" fmla="*/ 196 w 198"/>
                      <a:gd name="T1" fmla="*/ 72 h 318"/>
                      <a:gd name="T2" fmla="*/ 185 w 198"/>
                      <a:gd name="T3" fmla="*/ 58 h 318"/>
                      <a:gd name="T4" fmla="*/ 175 w 198"/>
                      <a:gd name="T5" fmla="*/ 34 h 318"/>
                      <a:gd name="T6" fmla="*/ 167 w 198"/>
                      <a:gd name="T7" fmla="*/ 21 h 318"/>
                      <a:gd name="T8" fmla="*/ 128 w 198"/>
                      <a:gd name="T9" fmla="*/ 0 h 318"/>
                      <a:gd name="T10" fmla="*/ 123 w 198"/>
                      <a:gd name="T11" fmla="*/ 8 h 318"/>
                      <a:gd name="T12" fmla="*/ 128 w 198"/>
                      <a:gd name="T13" fmla="*/ 15 h 318"/>
                      <a:gd name="T14" fmla="*/ 121 w 198"/>
                      <a:gd name="T15" fmla="*/ 21 h 318"/>
                      <a:gd name="T16" fmla="*/ 114 w 198"/>
                      <a:gd name="T17" fmla="*/ 29 h 318"/>
                      <a:gd name="T18" fmla="*/ 100 w 198"/>
                      <a:gd name="T19" fmla="*/ 25 h 318"/>
                      <a:gd name="T20" fmla="*/ 75 w 198"/>
                      <a:gd name="T21" fmla="*/ 29 h 318"/>
                      <a:gd name="T22" fmla="*/ 85 w 198"/>
                      <a:gd name="T23" fmla="*/ 38 h 318"/>
                      <a:gd name="T24" fmla="*/ 87 w 198"/>
                      <a:gd name="T25" fmla="*/ 60 h 318"/>
                      <a:gd name="T26" fmla="*/ 80 w 198"/>
                      <a:gd name="T27" fmla="*/ 71 h 318"/>
                      <a:gd name="T28" fmla="*/ 71 w 198"/>
                      <a:gd name="T29" fmla="*/ 82 h 318"/>
                      <a:gd name="T30" fmla="*/ 57 w 198"/>
                      <a:gd name="T31" fmla="*/ 87 h 318"/>
                      <a:gd name="T32" fmla="*/ 45 w 198"/>
                      <a:gd name="T33" fmla="*/ 96 h 318"/>
                      <a:gd name="T34" fmla="*/ 37 w 198"/>
                      <a:gd name="T35" fmla="*/ 104 h 318"/>
                      <a:gd name="T36" fmla="*/ 34 w 198"/>
                      <a:gd name="T37" fmla="*/ 118 h 318"/>
                      <a:gd name="T38" fmla="*/ 17 w 198"/>
                      <a:gd name="T39" fmla="*/ 142 h 318"/>
                      <a:gd name="T40" fmla="*/ 25 w 198"/>
                      <a:gd name="T41" fmla="*/ 147 h 318"/>
                      <a:gd name="T42" fmla="*/ 13 w 198"/>
                      <a:gd name="T43" fmla="*/ 150 h 318"/>
                      <a:gd name="T44" fmla="*/ 19 w 198"/>
                      <a:gd name="T45" fmla="*/ 163 h 318"/>
                      <a:gd name="T46" fmla="*/ 21 w 198"/>
                      <a:gd name="T47" fmla="*/ 183 h 318"/>
                      <a:gd name="T48" fmla="*/ 11 w 198"/>
                      <a:gd name="T49" fmla="*/ 196 h 318"/>
                      <a:gd name="T50" fmla="*/ 18 w 198"/>
                      <a:gd name="T51" fmla="*/ 204 h 318"/>
                      <a:gd name="T52" fmla="*/ 12 w 198"/>
                      <a:gd name="T53" fmla="*/ 217 h 318"/>
                      <a:gd name="T54" fmla="*/ 26 w 198"/>
                      <a:gd name="T55" fmla="*/ 225 h 318"/>
                      <a:gd name="T56" fmla="*/ 32 w 198"/>
                      <a:gd name="T57" fmla="*/ 235 h 318"/>
                      <a:gd name="T58" fmla="*/ 31 w 198"/>
                      <a:gd name="T59" fmla="*/ 239 h 318"/>
                      <a:gd name="T60" fmla="*/ 18 w 198"/>
                      <a:gd name="T61" fmla="*/ 236 h 318"/>
                      <a:gd name="T62" fmla="*/ 5 w 198"/>
                      <a:gd name="T63" fmla="*/ 249 h 318"/>
                      <a:gd name="T64" fmla="*/ 1 w 198"/>
                      <a:gd name="T65" fmla="*/ 266 h 318"/>
                      <a:gd name="T66" fmla="*/ 0 w 198"/>
                      <a:gd name="T67" fmla="*/ 269 h 318"/>
                      <a:gd name="T68" fmla="*/ 11 w 198"/>
                      <a:gd name="T69" fmla="*/ 273 h 318"/>
                      <a:gd name="T70" fmla="*/ 24 w 198"/>
                      <a:gd name="T71" fmla="*/ 296 h 318"/>
                      <a:gd name="T72" fmla="*/ 35 w 198"/>
                      <a:gd name="T73" fmla="*/ 296 h 318"/>
                      <a:gd name="T74" fmla="*/ 37 w 198"/>
                      <a:gd name="T75" fmla="*/ 310 h 318"/>
                      <a:gd name="T76" fmla="*/ 51 w 198"/>
                      <a:gd name="T77" fmla="*/ 313 h 318"/>
                      <a:gd name="T78" fmla="*/ 56 w 198"/>
                      <a:gd name="T79" fmla="*/ 303 h 318"/>
                      <a:gd name="T80" fmla="*/ 66 w 198"/>
                      <a:gd name="T81" fmla="*/ 288 h 318"/>
                      <a:gd name="T82" fmla="*/ 81 w 198"/>
                      <a:gd name="T83" fmla="*/ 278 h 318"/>
                      <a:gd name="T84" fmla="*/ 89 w 198"/>
                      <a:gd name="T85" fmla="*/ 267 h 318"/>
                      <a:gd name="T86" fmla="*/ 92 w 198"/>
                      <a:gd name="T87" fmla="*/ 243 h 318"/>
                      <a:gd name="T88" fmla="*/ 85 w 198"/>
                      <a:gd name="T89" fmla="*/ 231 h 318"/>
                      <a:gd name="T90" fmla="*/ 79 w 198"/>
                      <a:gd name="T91" fmla="*/ 213 h 318"/>
                      <a:gd name="T92" fmla="*/ 101 w 198"/>
                      <a:gd name="T93" fmla="*/ 207 h 318"/>
                      <a:gd name="T94" fmla="*/ 113 w 198"/>
                      <a:gd name="T95" fmla="*/ 217 h 318"/>
                      <a:gd name="T96" fmla="*/ 111 w 198"/>
                      <a:gd name="T97" fmla="*/ 207 h 318"/>
                      <a:gd name="T98" fmla="*/ 105 w 198"/>
                      <a:gd name="T99" fmla="*/ 184 h 318"/>
                      <a:gd name="T100" fmla="*/ 103 w 198"/>
                      <a:gd name="T101" fmla="*/ 161 h 318"/>
                      <a:gd name="T102" fmla="*/ 112 w 198"/>
                      <a:gd name="T103" fmla="*/ 161 h 318"/>
                      <a:gd name="T104" fmla="*/ 138 w 198"/>
                      <a:gd name="T105" fmla="*/ 151 h 318"/>
                      <a:gd name="T106" fmla="*/ 145 w 198"/>
                      <a:gd name="T107" fmla="*/ 142 h 318"/>
                      <a:gd name="T108" fmla="*/ 153 w 198"/>
                      <a:gd name="T109" fmla="*/ 128 h 318"/>
                      <a:gd name="T110" fmla="*/ 164 w 198"/>
                      <a:gd name="T111" fmla="*/ 115 h 318"/>
                      <a:gd name="T112" fmla="*/ 168 w 198"/>
                      <a:gd name="T113" fmla="*/ 99 h 318"/>
                      <a:gd name="T114" fmla="*/ 183 w 198"/>
                      <a:gd name="T115" fmla="*/ 84 h 3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</a:cxnLst>
                    <a:rect l="0" t="0" r="r" b="b"/>
                    <a:pathLst>
                      <a:path w="198" h="318">
                        <a:moveTo>
                          <a:pt x="186" y="84"/>
                        </a:moveTo>
                        <a:cubicBezTo>
                          <a:pt x="187" y="82"/>
                          <a:pt x="188" y="79"/>
                          <a:pt x="191" y="77"/>
                        </a:cubicBezTo>
                        <a:cubicBezTo>
                          <a:pt x="193" y="75"/>
                          <a:pt x="196" y="76"/>
                          <a:pt x="196" y="72"/>
                        </a:cubicBezTo>
                        <a:cubicBezTo>
                          <a:pt x="197" y="70"/>
                          <a:pt x="197" y="67"/>
                          <a:pt x="198" y="65"/>
                        </a:cubicBezTo>
                        <a:cubicBezTo>
                          <a:pt x="195" y="64"/>
                          <a:pt x="191" y="65"/>
                          <a:pt x="189" y="62"/>
                        </a:cubicBezTo>
                        <a:cubicBezTo>
                          <a:pt x="188" y="61"/>
                          <a:pt x="188" y="58"/>
                          <a:pt x="185" y="58"/>
                        </a:cubicBezTo>
                        <a:cubicBezTo>
                          <a:pt x="185" y="56"/>
                          <a:pt x="186" y="49"/>
                          <a:pt x="182" y="49"/>
                        </a:cubicBezTo>
                        <a:cubicBezTo>
                          <a:pt x="181" y="44"/>
                          <a:pt x="186" y="38"/>
                          <a:pt x="181" y="34"/>
                        </a:cubicBezTo>
                        <a:cubicBezTo>
                          <a:pt x="180" y="33"/>
                          <a:pt x="177" y="35"/>
                          <a:pt x="175" y="34"/>
                        </a:cubicBezTo>
                        <a:cubicBezTo>
                          <a:pt x="174" y="33"/>
                          <a:pt x="174" y="31"/>
                          <a:pt x="174" y="29"/>
                        </a:cubicBezTo>
                        <a:cubicBezTo>
                          <a:pt x="171" y="30"/>
                          <a:pt x="171" y="27"/>
                          <a:pt x="170" y="26"/>
                        </a:cubicBezTo>
                        <a:cubicBezTo>
                          <a:pt x="170" y="24"/>
                          <a:pt x="169" y="22"/>
                          <a:pt x="167" y="21"/>
                        </a:cubicBezTo>
                        <a:cubicBezTo>
                          <a:pt x="163" y="19"/>
                          <a:pt x="161" y="18"/>
                          <a:pt x="161" y="13"/>
                        </a:cubicBezTo>
                        <a:cubicBezTo>
                          <a:pt x="161" y="10"/>
                          <a:pt x="157" y="9"/>
                          <a:pt x="154" y="9"/>
                        </a:cubicBezTo>
                        <a:cubicBezTo>
                          <a:pt x="128" y="0"/>
                          <a:pt x="128" y="0"/>
                          <a:pt x="128" y="0"/>
                        </a:cubicBezTo>
                        <a:cubicBezTo>
                          <a:pt x="128" y="1"/>
                          <a:pt x="128" y="1"/>
                          <a:pt x="128" y="1"/>
                        </a:cubicBezTo>
                        <a:cubicBezTo>
                          <a:pt x="127" y="4"/>
                          <a:pt x="125" y="5"/>
                          <a:pt x="125" y="8"/>
                        </a:cubicBezTo>
                        <a:cubicBezTo>
                          <a:pt x="124" y="8"/>
                          <a:pt x="124" y="8"/>
                          <a:pt x="123" y="8"/>
                        </a:cubicBezTo>
                        <a:cubicBezTo>
                          <a:pt x="123" y="8"/>
                          <a:pt x="123" y="9"/>
                          <a:pt x="123" y="10"/>
                        </a:cubicBezTo>
                        <a:cubicBezTo>
                          <a:pt x="124" y="10"/>
                          <a:pt x="126" y="11"/>
                          <a:pt x="126" y="12"/>
                        </a:cubicBezTo>
                        <a:cubicBezTo>
                          <a:pt x="127" y="14"/>
                          <a:pt x="126" y="16"/>
                          <a:pt x="128" y="15"/>
                        </a:cubicBezTo>
                        <a:cubicBezTo>
                          <a:pt x="128" y="16"/>
                          <a:pt x="128" y="16"/>
                          <a:pt x="128" y="16"/>
                        </a:cubicBezTo>
                        <a:cubicBezTo>
                          <a:pt x="127" y="17"/>
                          <a:pt x="127" y="19"/>
                          <a:pt x="125" y="19"/>
                        </a:cubicBezTo>
                        <a:cubicBezTo>
                          <a:pt x="123" y="20"/>
                          <a:pt x="121" y="19"/>
                          <a:pt x="121" y="21"/>
                        </a:cubicBezTo>
                        <a:cubicBezTo>
                          <a:pt x="121" y="22"/>
                          <a:pt x="121" y="24"/>
                          <a:pt x="120" y="25"/>
                        </a:cubicBezTo>
                        <a:cubicBezTo>
                          <a:pt x="118" y="25"/>
                          <a:pt x="117" y="24"/>
                          <a:pt x="116" y="24"/>
                        </a:cubicBezTo>
                        <a:cubicBezTo>
                          <a:pt x="115" y="25"/>
                          <a:pt x="116" y="28"/>
                          <a:pt x="114" y="29"/>
                        </a:cubicBezTo>
                        <a:cubicBezTo>
                          <a:pt x="113" y="29"/>
                          <a:pt x="113" y="27"/>
                          <a:pt x="112" y="26"/>
                        </a:cubicBezTo>
                        <a:cubicBezTo>
                          <a:pt x="110" y="25"/>
                          <a:pt x="108" y="26"/>
                          <a:pt x="107" y="26"/>
                        </a:cubicBezTo>
                        <a:cubicBezTo>
                          <a:pt x="107" y="23"/>
                          <a:pt x="102" y="25"/>
                          <a:pt x="100" y="25"/>
                        </a:cubicBezTo>
                        <a:cubicBezTo>
                          <a:pt x="101" y="21"/>
                          <a:pt x="82" y="23"/>
                          <a:pt x="79" y="23"/>
                        </a:cubicBezTo>
                        <a:cubicBezTo>
                          <a:pt x="80" y="16"/>
                          <a:pt x="69" y="20"/>
                          <a:pt x="73" y="23"/>
                        </a:cubicBezTo>
                        <a:cubicBezTo>
                          <a:pt x="75" y="25"/>
                          <a:pt x="79" y="26"/>
                          <a:pt x="75" y="29"/>
                        </a:cubicBezTo>
                        <a:cubicBezTo>
                          <a:pt x="72" y="32"/>
                          <a:pt x="69" y="34"/>
                          <a:pt x="73" y="38"/>
                        </a:cubicBezTo>
                        <a:cubicBezTo>
                          <a:pt x="75" y="40"/>
                          <a:pt x="78" y="36"/>
                          <a:pt x="80" y="37"/>
                        </a:cubicBezTo>
                        <a:cubicBezTo>
                          <a:pt x="82" y="38"/>
                          <a:pt x="84" y="41"/>
                          <a:pt x="85" y="38"/>
                        </a:cubicBezTo>
                        <a:cubicBezTo>
                          <a:pt x="87" y="39"/>
                          <a:pt x="88" y="41"/>
                          <a:pt x="88" y="42"/>
                        </a:cubicBezTo>
                        <a:cubicBezTo>
                          <a:pt x="92" y="42"/>
                          <a:pt x="96" y="49"/>
                          <a:pt x="97" y="52"/>
                        </a:cubicBezTo>
                        <a:cubicBezTo>
                          <a:pt x="98" y="60"/>
                          <a:pt x="93" y="60"/>
                          <a:pt x="87" y="60"/>
                        </a:cubicBezTo>
                        <a:cubicBezTo>
                          <a:pt x="87" y="62"/>
                          <a:pt x="86" y="62"/>
                          <a:pt x="84" y="63"/>
                        </a:cubicBezTo>
                        <a:cubicBezTo>
                          <a:pt x="83" y="64"/>
                          <a:pt x="83" y="66"/>
                          <a:pt x="83" y="68"/>
                        </a:cubicBezTo>
                        <a:cubicBezTo>
                          <a:pt x="83" y="70"/>
                          <a:pt x="81" y="70"/>
                          <a:pt x="80" y="71"/>
                        </a:cubicBezTo>
                        <a:cubicBezTo>
                          <a:pt x="78" y="73"/>
                          <a:pt x="79" y="74"/>
                          <a:pt x="78" y="76"/>
                        </a:cubicBezTo>
                        <a:cubicBezTo>
                          <a:pt x="78" y="78"/>
                          <a:pt x="76" y="78"/>
                          <a:pt x="74" y="79"/>
                        </a:cubicBezTo>
                        <a:cubicBezTo>
                          <a:pt x="72" y="80"/>
                          <a:pt x="72" y="81"/>
                          <a:pt x="71" y="82"/>
                        </a:cubicBezTo>
                        <a:cubicBezTo>
                          <a:pt x="70" y="84"/>
                          <a:pt x="64" y="83"/>
                          <a:pt x="64" y="87"/>
                        </a:cubicBezTo>
                        <a:cubicBezTo>
                          <a:pt x="62" y="87"/>
                          <a:pt x="61" y="86"/>
                          <a:pt x="60" y="86"/>
                        </a:cubicBezTo>
                        <a:cubicBezTo>
                          <a:pt x="58" y="86"/>
                          <a:pt x="58" y="86"/>
                          <a:pt x="57" y="87"/>
                        </a:cubicBezTo>
                        <a:cubicBezTo>
                          <a:pt x="54" y="88"/>
                          <a:pt x="51" y="87"/>
                          <a:pt x="48" y="87"/>
                        </a:cubicBezTo>
                        <a:cubicBezTo>
                          <a:pt x="48" y="90"/>
                          <a:pt x="48" y="93"/>
                          <a:pt x="48" y="96"/>
                        </a:cubicBezTo>
                        <a:cubicBezTo>
                          <a:pt x="47" y="96"/>
                          <a:pt x="46" y="96"/>
                          <a:pt x="45" y="96"/>
                        </a:cubicBezTo>
                        <a:cubicBezTo>
                          <a:pt x="44" y="97"/>
                          <a:pt x="41" y="101"/>
                          <a:pt x="43" y="102"/>
                        </a:cubicBezTo>
                        <a:cubicBezTo>
                          <a:pt x="43" y="103"/>
                          <a:pt x="43" y="104"/>
                          <a:pt x="43" y="105"/>
                        </a:cubicBezTo>
                        <a:cubicBezTo>
                          <a:pt x="41" y="106"/>
                          <a:pt x="40" y="104"/>
                          <a:pt x="37" y="104"/>
                        </a:cubicBezTo>
                        <a:cubicBezTo>
                          <a:pt x="37" y="106"/>
                          <a:pt x="37" y="108"/>
                          <a:pt x="37" y="110"/>
                        </a:cubicBezTo>
                        <a:cubicBezTo>
                          <a:pt x="35" y="111"/>
                          <a:pt x="33" y="110"/>
                          <a:pt x="33" y="112"/>
                        </a:cubicBezTo>
                        <a:cubicBezTo>
                          <a:pt x="33" y="114"/>
                          <a:pt x="34" y="116"/>
                          <a:pt x="34" y="118"/>
                        </a:cubicBezTo>
                        <a:cubicBezTo>
                          <a:pt x="35" y="121"/>
                          <a:pt x="33" y="124"/>
                          <a:pt x="29" y="124"/>
                        </a:cubicBezTo>
                        <a:cubicBezTo>
                          <a:pt x="29" y="129"/>
                          <a:pt x="32" y="140"/>
                          <a:pt x="24" y="141"/>
                        </a:cubicBezTo>
                        <a:cubicBezTo>
                          <a:pt x="17" y="142"/>
                          <a:pt x="17" y="142"/>
                          <a:pt x="17" y="142"/>
                        </a:cubicBezTo>
                        <a:cubicBezTo>
                          <a:pt x="15" y="141"/>
                          <a:pt x="14" y="140"/>
                          <a:pt x="13" y="139"/>
                        </a:cubicBezTo>
                        <a:cubicBezTo>
                          <a:pt x="14" y="141"/>
                          <a:pt x="16" y="142"/>
                          <a:pt x="19" y="142"/>
                        </a:cubicBezTo>
                        <a:cubicBezTo>
                          <a:pt x="22" y="143"/>
                          <a:pt x="26" y="143"/>
                          <a:pt x="25" y="147"/>
                        </a:cubicBezTo>
                        <a:cubicBezTo>
                          <a:pt x="24" y="149"/>
                          <a:pt x="22" y="150"/>
                          <a:pt x="21" y="150"/>
                        </a:cubicBezTo>
                        <a:cubicBezTo>
                          <a:pt x="19" y="150"/>
                          <a:pt x="18" y="153"/>
                          <a:pt x="16" y="152"/>
                        </a:cubicBezTo>
                        <a:cubicBezTo>
                          <a:pt x="16" y="150"/>
                          <a:pt x="15" y="150"/>
                          <a:pt x="13" y="150"/>
                        </a:cubicBezTo>
                        <a:cubicBezTo>
                          <a:pt x="13" y="152"/>
                          <a:pt x="14" y="153"/>
                          <a:pt x="14" y="154"/>
                        </a:cubicBezTo>
                        <a:cubicBezTo>
                          <a:pt x="14" y="156"/>
                          <a:pt x="14" y="158"/>
                          <a:pt x="14" y="160"/>
                        </a:cubicBezTo>
                        <a:cubicBezTo>
                          <a:pt x="15" y="162"/>
                          <a:pt x="18" y="161"/>
                          <a:pt x="19" y="163"/>
                        </a:cubicBezTo>
                        <a:cubicBezTo>
                          <a:pt x="23" y="168"/>
                          <a:pt x="16" y="173"/>
                          <a:pt x="17" y="178"/>
                        </a:cubicBezTo>
                        <a:cubicBezTo>
                          <a:pt x="18" y="179"/>
                          <a:pt x="20" y="177"/>
                          <a:pt x="22" y="177"/>
                        </a:cubicBezTo>
                        <a:cubicBezTo>
                          <a:pt x="22" y="179"/>
                          <a:pt x="21" y="181"/>
                          <a:pt x="21" y="183"/>
                        </a:cubicBezTo>
                        <a:cubicBezTo>
                          <a:pt x="21" y="185"/>
                          <a:pt x="21" y="188"/>
                          <a:pt x="20" y="190"/>
                        </a:cubicBezTo>
                        <a:cubicBezTo>
                          <a:pt x="20" y="191"/>
                          <a:pt x="13" y="194"/>
                          <a:pt x="13" y="192"/>
                        </a:cubicBezTo>
                        <a:cubicBezTo>
                          <a:pt x="13" y="194"/>
                          <a:pt x="12" y="194"/>
                          <a:pt x="11" y="196"/>
                        </a:cubicBezTo>
                        <a:cubicBezTo>
                          <a:pt x="11" y="197"/>
                          <a:pt x="11" y="198"/>
                          <a:pt x="11" y="200"/>
                        </a:cubicBezTo>
                        <a:cubicBezTo>
                          <a:pt x="12" y="200"/>
                          <a:pt x="13" y="199"/>
                          <a:pt x="14" y="198"/>
                        </a:cubicBezTo>
                        <a:cubicBezTo>
                          <a:pt x="16" y="200"/>
                          <a:pt x="18" y="201"/>
                          <a:pt x="18" y="204"/>
                        </a:cubicBezTo>
                        <a:cubicBezTo>
                          <a:pt x="17" y="208"/>
                          <a:pt x="17" y="209"/>
                          <a:pt x="13" y="209"/>
                        </a:cubicBezTo>
                        <a:cubicBezTo>
                          <a:pt x="12" y="210"/>
                          <a:pt x="14" y="211"/>
                          <a:pt x="14" y="213"/>
                        </a:cubicBezTo>
                        <a:cubicBezTo>
                          <a:pt x="13" y="215"/>
                          <a:pt x="11" y="215"/>
                          <a:pt x="12" y="217"/>
                        </a:cubicBezTo>
                        <a:cubicBezTo>
                          <a:pt x="14" y="216"/>
                          <a:pt x="16" y="213"/>
                          <a:pt x="19" y="215"/>
                        </a:cubicBezTo>
                        <a:cubicBezTo>
                          <a:pt x="21" y="216"/>
                          <a:pt x="20" y="219"/>
                          <a:pt x="22" y="220"/>
                        </a:cubicBezTo>
                        <a:cubicBezTo>
                          <a:pt x="23" y="223"/>
                          <a:pt x="22" y="225"/>
                          <a:pt x="26" y="225"/>
                        </a:cubicBezTo>
                        <a:cubicBezTo>
                          <a:pt x="26" y="226"/>
                          <a:pt x="26" y="227"/>
                          <a:pt x="26" y="227"/>
                        </a:cubicBezTo>
                        <a:cubicBezTo>
                          <a:pt x="29" y="228"/>
                          <a:pt x="33" y="227"/>
                          <a:pt x="34" y="230"/>
                        </a:cubicBezTo>
                        <a:cubicBezTo>
                          <a:pt x="35" y="232"/>
                          <a:pt x="31" y="233"/>
                          <a:pt x="32" y="235"/>
                        </a:cubicBezTo>
                        <a:cubicBezTo>
                          <a:pt x="33" y="235"/>
                          <a:pt x="33" y="235"/>
                          <a:pt x="33" y="235"/>
                        </a:cubicBezTo>
                        <a:cubicBezTo>
                          <a:pt x="33" y="236"/>
                          <a:pt x="31" y="237"/>
                          <a:pt x="32" y="238"/>
                        </a:cubicBezTo>
                        <a:cubicBezTo>
                          <a:pt x="31" y="239"/>
                          <a:pt x="31" y="238"/>
                          <a:pt x="31" y="239"/>
                        </a:cubicBezTo>
                        <a:cubicBezTo>
                          <a:pt x="29" y="240"/>
                          <a:pt x="29" y="240"/>
                          <a:pt x="28" y="241"/>
                        </a:cubicBezTo>
                        <a:cubicBezTo>
                          <a:pt x="26" y="241"/>
                          <a:pt x="24" y="241"/>
                          <a:pt x="22" y="240"/>
                        </a:cubicBezTo>
                        <a:cubicBezTo>
                          <a:pt x="20" y="240"/>
                          <a:pt x="19" y="237"/>
                          <a:pt x="18" y="236"/>
                        </a:cubicBezTo>
                        <a:cubicBezTo>
                          <a:pt x="16" y="235"/>
                          <a:pt x="11" y="243"/>
                          <a:pt x="8" y="242"/>
                        </a:cubicBezTo>
                        <a:cubicBezTo>
                          <a:pt x="8" y="243"/>
                          <a:pt x="8" y="243"/>
                          <a:pt x="8" y="243"/>
                        </a:cubicBezTo>
                        <a:cubicBezTo>
                          <a:pt x="5" y="244"/>
                          <a:pt x="8" y="248"/>
                          <a:pt x="5" y="249"/>
                        </a:cubicBezTo>
                        <a:cubicBezTo>
                          <a:pt x="2" y="249"/>
                          <a:pt x="3" y="255"/>
                          <a:pt x="4" y="256"/>
                        </a:cubicBezTo>
                        <a:cubicBezTo>
                          <a:pt x="5" y="258"/>
                          <a:pt x="10" y="260"/>
                          <a:pt x="6" y="262"/>
                        </a:cubicBezTo>
                        <a:cubicBezTo>
                          <a:pt x="4" y="263"/>
                          <a:pt x="0" y="262"/>
                          <a:pt x="1" y="266"/>
                        </a:cubicBezTo>
                        <a:cubicBezTo>
                          <a:pt x="2" y="266"/>
                          <a:pt x="3" y="267"/>
                          <a:pt x="3" y="267"/>
                        </a:cubicBezTo>
                        <a:cubicBezTo>
                          <a:pt x="2" y="268"/>
                          <a:pt x="1" y="268"/>
                          <a:pt x="1" y="268"/>
                        </a:cubicBezTo>
                        <a:cubicBezTo>
                          <a:pt x="0" y="269"/>
                          <a:pt x="0" y="269"/>
                          <a:pt x="0" y="269"/>
                        </a:cubicBezTo>
                        <a:cubicBezTo>
                          <a:pt x="1" y="269"/>
                          <a:pt x="2" y="268"/>
                          <a:pt x="3" y="269"/>
                        </a:cubicBezTo>
                        <a:cubicBezTo>
                          <a:pt x="4" y="270"/>
                          <a:pt x="4" y="271"/>
                          <a:pt x="5" y="272"/>
                        </a:cubicBezTo>
                        <a:cubicBezTo>
                          <a:pt x="6" y="273"/>
                          <a:pt x="10" y="274"/>
                          <a:pt x="11" y="273"/>
                        </a:cubicBezTo>
                        <a:cubicBezTo>
                          <a:pt x="14" y="269"/>
                          <a:pt x="21" y="280"/>
                          <a:pt x="22" y="282"/>
                        </a:cubicBezTo>
                        <a:cubicBezTo>
                          <a:pt x="23" y="285"/>
                          <a:pt x="24" y="287"/>
                          <a:pt x="25" y="290"/>
                        </a:cubicBezTo>
                        <a:cubicBezTo>
                          <a:pt x="26" y="292"/>
                          <a:pt x="23" y="293"/>
                          <a:pt x="24" y="296"/>
                        </a:cubicBezTo>
                        <a:cubicBezTo>
                          <a:pt x="26" y="297"/>
                          <a:pt x="28" y="294"/>
                          <a:pt x="31" y="294"/>
                        </a:cubicBezTo>
                        <a:cubicBezTo>
                          <a:pt x="31" y="295"/>
                          <a:pt x="31" y="296"/>
                          <a:pt x="31" y="297"/>
                        </a:cubicBezTo>
                        <a:cubicBezTo>
                          <a:pt x="33" y="298"/>
                          <a:pt x="33" y="296"/>
                          <a:pt x="35" y="296"/>
                        </a:cubicBezTo>
                        <a:cubicBezTo>
                          <a:pt x="35" y="297"/>
                          <a:pt x="35" y="297"/>
                          <a:pt x="35" y="297"/>
                        </a:cubicBezTo>
                        <a:cubicBezTo>
                          <a:pt x="36" y="298"/>
                          <a:pt x="33" y="300"/>
                          <a:pt x="35" y="302"/>
                        </a:cubicBezTo>
                        <a:cubicBezTo>
                          <a:pt x="37" y="304"/>
                          <a:pt x="37" y="307"/>
                          <a:pt x="37" y="310"/>
                        </a:cubicBezTo>
                        <a:cubicBezTo>
                          <a:pt x="36" y="318"/>
                          <a:pt x="40" y="312"/>
                          <a:pt x="45" y="312"/>
                        </a:cubicBezTo>
                        <a:cubicBezTo>
                          <a:pt x="47" y="312"/>
                          <a:pt x="49" y="314"/>
                          <a:pt x="51" y="313"/>
                        </a:cubicBezTo>
                        <a:cubicBezTo>
                          <a:pt x="51" y="313"/>
                          <a:pt x="51" y="313"/>
                          <a:pt x="51" y="313"/>
                        </a:cubicBezTo>
                        <a:cubicBezTo>
                          <a:pt x="51" y="313"/>
                          <a:pt x="51" y="313"/>
                          <a:pt x="51" y="313"/>
                        </a:cubicBezTo>
                        <a:cubicBezTo>
                          <a:pt x="51" y="313"/>
                          <a:pt x="51" y="312"/>
                          <a:pt x="51" y="311"/>
                        </a:cubicBezTo>
                        <a:cubicBezTo>
                          <a:pt x="52" y="308"/>
                          <a:pt x="54" y="306"/>
                          <a:pt x="56" y="303"/>
                        </a:cubicBezTo>
                        <a:cubicBezTo>
                          <a:pt x="58" y="300"/>
                          <a:pt x="58" y="296"/>
                          <a:pt x="59" y="293"/>
                        </a:cubicBezTo>
                        <a:cubicBezTo>
                          <a:pt x="61" y="292"/>
                          <a:pt x="62" y="291"/>
                          <a:pt x="64" y="289"/>
                        </a:cubicBezTo>
                        <a:cubicBezTo>
                          <a:pt x="65" y="289"/>
                          <a:pt x="65" y="288"/>
                          <a:pt x="66" y="288"/>
                        </a:cubicBezTo>
                        <a:cubicBezTo>
                          <a:pt x="67" y="288"/>
                          <a:pt x="69" y="289"/>
                          <a:pt x="70" y="288"/>
                        </a:cubicBezTo>
                        <a:cubicBezTo>
                          <a:pt x="73" y="286"/>
                          <a:pt x="74" y="281"/>
                          <a:pt x="76" y="278"/>
                        </a:cubicBezTo>
                        <a:cubicBezTo>
                          <a:pt x="78" y="278"/>
                          <a:pt x="79" y="278"/>
                          <a:pt x="81" y="278"/>
                        </a:cubicBezTo>
                        <a:cubicBezTo>
                          <a:pt x="81" y="274"/>
                          <a:pt x="81" y="273"/>
                          <a:pt x="78" y="271"/>
                        </a:cubicBezTo>
                        <a:cubicBezTo>
                          <a:pt x="79" y="271"/>
                          <a:pt x="82" y="271"/>
                          <a:pt x="84" y="271"/>
                        </a:cubicBezTo>
                        <a:cubicBezTo>
                          <a:pt x="84" y="268"/>
                          <a:pt x="87" y="269"/>
                          <a:pt x="89" y="267"/>
                        </a:cubicBezTo>
                        <a:cubicBezTo>
                          <a:pt x="91" y="266"/>
                          <a:pt x="91" y="262"/>
                          <a:pt x="91" y="260"/>
                        </a:cubicBezTo>
                        <a:cubicBezTo>
                          <a:pt x="92" y="260"/>
                          <a:pt x="93" y="260"/>
                          <a:pt x="94" y="260"/>
                        </a:cubicBezTo>
                        <a:cubicBezTo>
                          <a:pt x="95" y="254"/>
                          <a:pt x="92" y="248"/>
                          <a:pt x="92" y="243"/>
                        </a:cubicBezTo>
                        <a:cubicBezTo>
                          <a:pt x="92" y="240"/>
                          <a:pt x="93" y="237"/>
                          <a:pt x="92" y="235"/>
                        </a:cubicBezTo>
                        <a:cubicBezTo>
                          <a:pt x="91" y="233"/>
                          <a:pt x="89" y="233"/>
                          <a:pt x="88" y="231"/>
                        </a:cubicBezTo>
                        <a:cubicBezTo>
                          <a:pt x="88" y="231"/>
                          <a:pt x="86" y="230"/>
                          <a:pt x="85" y="231"/>
                        </a:cubicBezTo>
                        <a:cubicBezTo>
                          <a:pt x="85" y="226"/>
                          <a:pt x="90" y="222"/>
                          <a:pt x="88" y="218"/>
                        </a:cubicBezTo>
                        <a:cubicBezTo>
                          <a:pt x="87" y="215"/>
                          <a:pt x="83" y="217"/>
                          <a:pt x="83" y="213"/>
                        </a:cubicBezTo>
                        <a:cubicBezTo>
                          <a:pt x="82" y="213"/>
                          <a:pt x="80" y="214"/>
                          <a:pt x="79" y="213"/>
                        </a:cubicBezTo>
                        <a:cubicBezTo>
                          <a:pt x="77" y="209"/>
                          <a:pt x="80" y="206"/>
                          <a:pt x="80" y="202"/>
                        </a:cubicBezTo>
                        <a:cubicBezTo>
                          <a:pt x="82" y="202"/>
                          <a:pt x="86" y="201"/>
                          <a:pt x="86" y="204"/>
                        </a:cubicBezTo>
                        <a:cubicBezTo>
                          <a:pt x="91" y="205"/>
                          <a:pt x="97" y="204"/>
                          <a:pt x="101" y="207"/>
                        </a:cubicBezTo>
                        <a:cubicBezTo>
                          <a:pt x="101" y="209"/>
                          <a:pt x="99" y="215"/>
                          <a:pt x="103" y="214"/>
                        </a:cubicBezTo>
                        <a:cubicBezTo>
                          <a:pt x="103" y="210"/>
                          <a:pt x="111" y="211"/>
                          <a:pt x="113" y="212"/>
                        </a:cubicBezTo>
                        <a:cubicBezTo>
                          <a:pt x="114" y="214"/>
                          <a:pt x="113" y="216"/>
                          <a:pt x="113" y="217"/>
                        </a:cubicBezTo>
                        <a:cubicBezTo>
                          <a:pt x="116" y="218"/>
                          <a:pt x="117" y="216"/>
                          <a:pt x="118" y="215"/>
                        </a:cubicBezTo>
                        <a:cubicBezTo>
                          <a:pt x="119" y="212"/>
                          <a:pt x="120" y="209"/>
                          <a:pt x="118" y="207"/>
                        </a:cubicBezTo>
                        <a:cubicBezTo>
                          <a:pt x="118" y="207"/>
                          <a:pt x="112" y="207"/>
                          <a:pt x="111" y="207"/>
                        </a:cubicBezTo>
                        <a:cubicBezTo>
                          <a:pt x="109" y="207"/>
                          <a:pt x="105" y="207"/>
                          <a:pt x="104" y="204"/>
                        </a:cubicBezTo>
                        <a:cubicBezTo>
                          <a:pt x="104" y="202"/>
                          <a:pt x="105" y="199"/>
                          <a:pt x="105" y="197"/>
                        </a:cubicBezTo>
                        <a:cubicBezTo>
                          <a:pt x="106" y="193"/>
                          <a:pt x="108" y="188"/>
                          <a:pt x="105" y="184"/>
                        </a:cubicBezTo>
                        <a:cubicBezTo>
                          <a:pt x="105" y="183"/>
                          <a:pt x="103" y="184"/>
                          <a:pt x="103" y="182"/>
                        </a:cubicBezTo>
                        <a:cubicBezTo>
                          <a:pt x="103" y="180"/>
                          <a:pt x="103" y="178"/>
                          <a:pt x="103" y="177"/>
                        </a:cubicBezTo>
                        <a:cubicBezTo>
                          <a:pt x="103" y="172"/>
                          <a:pt x="103" y="167"/>
                          <a:pt x="103" y="161"/>
                        </a:cubicBezTo>
                        <a:cubicBezTo>
                          <a:pt x="104" y="161"/>
                          <a:pt x="105" y="162"/>
                          <a:pt x="106" y="162"/>
                        </a:cubicBezTo>
                        <a:cubicBezTo>
                          <a:pt x="106" y="164"/>
                          <a:pt x="107" y="166"/>
                          <a:pt x="109" y="166"/>
                        </a:cubicBezTo>
                        <a:cubicBezTo>
                          <a:pt x="111" y="165"/>
                          <a:pt x="112" y="163"/>
                          <a:pt x="112" y="161"/>
                        </a:cubicBezTo>
                        <a:cubicBezTo>
                          <a:pt x="114" y="158"/>
                          <a:pt x="116" y="154"/>
                          <a:pt x="116" y="149"/>
                        </a:cubicBezTo>
                        <a:cubicBezTo>
                          <a:pt x="121" y="149"/>
                          <a:pt x="126" y="150"/>
                          <a:pt x="132" y="150"/>
                        </a:cubicBezTo>
                        <a:cubicBezTo>
                          <a:pt x="133" y="150"/>
                          <a:pt x="136" y="149"/>
                          <a:pt x="138" y="151"/>
                        </a:cubicBezTo>
                        <a:cubicBezTo>
                          <a:pt x="139" y="152"/>
                          <a:pt x="141" y="152"/>
                          <a:pt x="143" y="152"/>
                        </a:cubicBezTo>
                        <a:cubicBezTo>
                          <a:pt x="143" y="150"/>
                          <a:pt x="144" y="149"/>
                          <a:pt x="145" y="147"/>
                        </a:cubicBezTo>
                        <a:cubicBezTo>
                          <a:pt x="145" y="146"/>
                          <a:pt x="145" y="144"/>
                          <a:pt x="145" y="142"/>
                        </a:cubicBezTo>
                        <a:cubicBezTo>
                          <a:pt x="147" y="140"/>
                          <a:pt x="152" y="141"/>
                          <a:pt x="154" y="141"/>
                        </a:cubicBezTo>
                        <a:cubicBezTo>
                          <a:pt x="155" y="139"/>
                          <a:pt x="152" y="138"/>
                          <a:pt x="152" y="136"/>
                        </a:cubicBezTo>
                        <a:cubicBezTo>
                          <a:pt x="152" y="134"/>
                          <a:pt x="152" y="130"/>
                          <a:pt x="153" y="128"/>
                        </a:cubicBezTo>
                        <a:cubicBezTo>
                          <a:pt x="154" y="127"/>
                          <a:pt x="157" y="127"/>
                          <a:pt x="157" y="125"/>
                        </a:cubicBezTo>
                        <a:cubicBezTo>
                          <a:pt x="157" y="124"/>
                          <a:pt x="156" y="122"/>
                          <a:pt x="158" y="122"/>
                        </a:cubicBezTo>
                        <a:cubicBezTo>
                          <a:pt x="159" y="118"/>
                          <a:pt x="161" y="117"/>
                          <a:pt x="164" y="115"/>
                        </a:cubicBezTo>
                        <a:cubicBezTo>
                          <a:pt x="163" y="112"/>
                          <a:pt x="159" y="111"/>
                          <a:pt x="161" y="107"/>
                        </a:cubicBezTo>
                        <a:cubicBezTo>
                          <a:pt x="162" y="105"/>
                          <a:pt x="164" y="107"/>
                          <a:pt x="164" y="104"/>
                        </a:cubicBezTo>
                        <a:cubicBezTo>
                          <a:pt x="164" y="102"/>
                          <a:pt x="167" y="100"/>
                          <a:pt x="168" y="99"/>
                        </a:cubicBezTo>
                        <a:cubicBezTo>
                          <a:pt x="171" y="97"/>
                          <a:pt x="176" y="94"/>
                          <a:pt x="179" y="93"/>
                        </a:cubicBezTo>
                        <a:cubicBezTo>
                          <a:pt x="185" y="92"/>
                          <a:pt x="184" y="90"/>
                          <a:pt x="184" y="85"/>
                        </a:cubicBezTo>
                        <a:cubicBezTo>
                          <a:pt x="183" y="84"/>
                          <a:pt x="183" y="84"/>
                          <a:pt x="183" y="84"/>
                        </a:cubicBezTo>
                        <a:cubicBezTo>
                          <a:pt x="184" y="84"/>
                          <a:pt x="185" y="84"/>
                          <a:pt x="186" y="84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23" name="Freeform 442">
                    <a:extLst>
                      <a:ext uri="{FF2B5EF4-FFF2-40B4-BE49-F238E27FC236}">
                        <a16:creationId xmlns:a16="http://schemas.microsoft.com/office/drawing/2014/main" xmlns="" id="{5C04A6FA-9D84-4B8F-93EF-93309F7149F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716588" y="2711451"/>
                    <a:ext cx="1011238" cy="685800"/>
                  </a:xfrm>
                  <a:custGeom>
                    <a:avLst/>
                    <a:gdLst>
                      <a:gd name="T0" fmla="*/ 13 w 286"/>
                      <a:gd name="T1" fmla="*/ 76 h 194"/>
                      <a:gd name="T2" fmla="*/ 12 w 286"/>
                      <a:gd name="T3" fmla="*/ 92 h 194"/>
                      <a:gd name="T4" fmla="*/ 2 w 286"/>
                      <a:gd name="T5" fmla="*/ 104 h 194"/>
                      <a:gd name="T6" fmla="*/ 3 w 286"/>
                      <a:gd name="T7" fmla="*/ 129 h 194"/>
                      <a:gd name="T8" fmla="*/ 15 w 286"/>
                      <a:gd name="T9" fmla="*/ 124 h 194"/>
                      <a:gd name="T10" fmla="*/ 32 w 286"/>
                      <a:gd name="T11" fmla="*/ 113 h 194"/>
                      <a:gd name="T12" fmla="*/ 53 w 286"/>
                      <a:gd name="T13" fmla="*/ 114 h 194"/>
                      <a:gd name="T14" fmla="*/ 70 w 286"/>
                      <a:gd name="T15" fmla="*/ 120 h 194"/>
                      <a:gd name="T16" fmla="*/ 80 w 286"/>
                      <a:gd name="T17" fmla="*/ 123 h 194"/>
                      <a:gd name="T18" fmla="*/ 90 w 286"/>
                      <a:gd name="T19" fmla="*/ 113 h 194"/>
                      <a:gd name="T20" fmla="*/ 101 w 286"/>
                      <a:gd name="T21" fmla="*/ 110 h 194"/>
                      <a:gd name="T22" fmla="*/ 124 w 286"/>
                      <a:gd name="T23" fmla="*/ 106 h 194"/>
                      <a:gd name="T24" fmla="*/ 121 w 286"/>
                      <a:gd name="T25" fmla="*/ 122 h 194"/>
                      <a:gd name="T26" fmla="*/ 143 w 286"/>
                      <a:gd name="T27" fmla="*/ 125 h 194"/>
                      <a:gd name="T28" fmla="*/ 145 w 286"/>
                      <a:gd name="T29" fmla="*/ 144 h 194"/>
                      <a:gd name="T30" fmla="*/ 118 w 286"/>
                      <a:gd name="T31" fmla="*/ 158 h 194"/>
                      <a:gd name="T32" fmla="*/ 122 w 286"/>
                      <a:gd name="T33" fmla="*/ 181 h 194"/>
                      <a:gd name="T34" fmla="*/ 132 w 286"/>
                      <a:gd name="T35" fmla="*/ 194 h 194"/>
                      <a:gd name="T36" fmla="*/ 141 w 286"/>
                      <a:gd name="T37" fmla="*/ 185 h 194"/>
                      <a:gd name="T38" fmla="*/ 154 w 286"/>
                      <a:gd name="T39" fmla="*/ 180 h 194"/>
                      <a:gd name="T40" fmla="*/ 162 w 286"/>
                      <a:gd name="T41" fmla="*/ 159 h 194"/>
                      <a:gd name="T42" fmla="*/ 170 w 286"/>
                      <a:gd name="T43" fmla="*/ 148 h 194"/>
                      <a:gd name="T44" fmla="*/ 178 w 286"/>
                      <a:gd name="T45" fmla="*/ 137 h 194"/>
                      <a:gd name="T46" fmla="*/ 171 w 286"/>
                      <a:gd name="T47" fmla="*/ 123 h 194"/>
                      <a:gd name="T48" fmla="*/ 186 w 286"/>
                      <a:gd name="T49" fmla="*/ 109 h 194"/>
                      <a:gd name="T50" fmla="*/ 194 w 286"/>
                      <a:gd name="T51" fmla="*/ 109 h 194"/>
                      <a:gd name="T52" fmla="*/ 203 w 286"/>
                      <a:gd name="T53" fmla="*/ 86 h 194"/>
                      <a:gd name="T54" fmla="*/ 212 w 286"/>
                      <a:gd name="T55" fmla="*/ 79 h 194"/>
                      <a:gd name="T56" fmla="*/ 219 w 286"/>
                      <a:gd name="T57" fmla="*/ 72 h 194"/>
                      <a:gd name="T58" fmla="*/ 238 w 286"/>
                      <a:gd name="T59" fmla="*/ 55 h 194"/>
                      <a:gd name="T60" fmla="*/ 249 w 286"/>
                      <a:gd name="T61" fmla="*/ 49 h 194"/>
                      <a:gd name="T62" fmla="*/ 256 w 286"/>
                      <a:gd name="T63" fmla="*/ 46 h 194"/>
                      <a:gd name="T64" fmla="*/ 265 w 286"/>
                      <a:gd name="T65" fmla="*/ 36 h 194"/>
                      <a:gd name="T66" fmla="*/ 285 w 286"/>
                      <a:gd name="T67" fmla="*/ 30 h 194"/>
                      <a:gd name="T68" fmla="*/ 278 w 286"/>
                      <a:gd name="T69" fmla="*/ 24 h 194"/>
                      <a:gd name="T70" fmla="*/ 277 w 286"/>
                      <a:gd name="T71" fmla="*/ 7 h 194"/>
                      <a:gd name="T72" fmla="*/ 269 w 286"/>
                      <a:gd name="T73" fmla="*/ 2 h 194"/>
                      <a:gd name="T74" fmla="*/ 256 w 286"/>
                      <a:gd name="T75" fmla="*/ 7 h 194"/>
                      <a:gd name="T76" fmla="*/ 248 w 286"/>
                      <a:gd name="T77" fmla="*/ 10 h 194"/>
                      <a:gd name="T78" fmla="*/ 239 w 286"/>
                      <a:gd name="T79" fmla="*/ 13 h 194"/>
                      <a:gd name="T80" fmla="*/ 233 w 286"/>
                      <a:gd name="T81" fmla="*/ 17 h 194"/>
                      <a:gd name="T82" fmla="*/ 229 w 286"/>
                      <a:gd name="T83" fmla="*/ 19 h 194"/>
                      <a:gd name="T84" fmla="*/ 215 w 286"/>
                      <a:gd name="T85" fmla="*/ 25 h 194"/>
                      <a:gd name="T86" fmla="*/ 203 w 286"/>
                      <a:gd name="T87" fmla="*/ 25 h 194"/>
                      <a:gd name="T88" fmla="*/ 203 w 286"/>
                      <a:gd name="T89" fmla="*/ 34 h 194"/>
                      <a:gd name="T90" fmla="*/ 195 w 286"/>
                      <a:gd name="T91" fmla="*/ 40 h 194"/>
                      <a:gd name="T92" fmla="*/ 187 w 286"/>
                      <a:gd name="T93" fmla="*/ 52 h 194"/>
                      <a:gd name="T94" fmla="*/ 177 w 286"/>
                      <a:gd name="T95" fmla="*/ 57 h 194"/>
                      <a:gd name="T96" fmla="*/ 159 w 286"/>
                      <a:gd name="T97" fmla="*/ 61 h 194"/>
                      <a:gd name="T98" fmla="*/ 138 w 286"/>
                      <a:gd name="T99" fmla="*/ 59 h 194"/>
                      <a:gd name="T100" fmla="*/ 125 w 286"/>
                      <a:gd name="T101" fmla="*/ 63 h 194"/>
                      <a:gd name="T102" fmla="*/ 110 w 286"/>
                      <a:gd name="T103" fmla="*/ 65 h 194"/>
                      <a:gd name="T104" fmla="*/ 66 w 286"/>
                      <a:gd name="T105" fmla="*/ 56 h 194"/>
                      <a:gd name="T106" fmla="*/ 14 w 286"/>
                      <a:gd name="T107" fmla="*/ 74 h 1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286" h="194">
                        <a:moveTo>
                          <a:pt x="14" y="74"/>
                        </a:moveTo>
                        <a:cubicBezTo>
                          <a:pt x="8" y="78"/>
                          <a:pt x="8" y="78"/>
                          <a:pt x="8" y="78"/>
                        </a:cubicBezTo>
                        <a:cubicBezTo>
                          <a:pt x="8" y="77"/>
                          <a:pt x="9" y="77"/>
                          <a:pt x="10" y="77"/>
                        </a:cubicBezTo>
                        <a:cubicBezTo>
                          <a:pt x="11" y="77"/>
                          <a:pt x="12" y="77"/>
                          <a:pt x="13" y="76"/>
                        </a:cubicBezTo>
                        <a:cubicBezTo>
                          <a:pt x="13" y="77"/>
                          <a:pt x="13" y="78"/>
                          <a:pt x="12" y="79"/>
                        </a:cubicBezTo>
                        <a:cubicBezTo>
                          <a:pt x="11" y="81"/>
                          <a:pt x="10" y="85"/>
                          <a:pt x="11" y="87"/>
                        </a:cubicBezTo>
                        <a:cubicBezTo>
                          <a:pt x="12" y="88"/>
                          <a:pt x="12" y="89"/>
                          <a:pt x="14" y="89"/>
                        </a:cubicBezTo>
                        <a:cubicBezTo>
                          <a:pt x="13" y="90"/>
                          <a:pt x="13" y="91"/>
                          <a:pt x="12" y="92"/>
                        </a:cubicBezTo>
                        <a:cubicBezTo>
                          <a:pt x="11" y="93"/>
                          <a:pt x="10" y="94"/>
                          <a:pt x="9" y="96"/>
                        </a:cubicBezTo>
                        <a:cubicBezTo>
                          <a:pt x="8" y="96"/>
                          <a:pt x="7" y="97"/>
                          <a:pt x="6" y="98"/>
                        </a:cubicBezTo>
                        <a:cubicBezTo>
                          <a:pt x="4" y="99"/>
                          <a:pt x="3" y="101"/>
                          <a:pt x="3" y="103"/>
                        </a:cubicBezTo>
                        <a:cubicBezTo>
                          <a:pt x="2" y="104"/>
                          <a:pt x="2" y="104"/>
                          <a:pt x="2" y="104"/>
                        </a:cubicBezTo>
                        <a:cubicBezTo>
                          <a:pt x="1" y="105"/>
                          <a:pt x="0" y="105"/>
                          <a:pt x="0" y="105"/>
                        </a:cubicBezTo>
                        <a:cubicBezTo>
                          <a:pt x="2" y="108"/>
                          <a:pt x="2" y="108"/>
                          <a:pt x="2" y="108"/>
                        </a:cubicBezTo>
                        <a:cubicBezTo>
                          <a:pt x="2" y="114"/>
                          <a:pt x="2" y="120"/>
                          <a:pt x="2" y="125"/>
                        </a:cubicBezTo>
                        <a:cubicBezTo>
                          <a:pt x="2" y="127"/>
                          <a:pt x="2" y="128"/>
                          <a:pt x="3" y="129"/>
                        </a:cubicBezTo>
                        <a:cubicBezTo>
                          <a:pt x="4" y="131"/>
                          <a:pt x="6" y="131"/>
                          <a:pt x="8" y="131"/>
                        </a:cubicBezTo>
                        <a:cubicBezTo>
                          <a:pt x="10" y="131"/>
                          <a:pt x="16" y="132"/>
                          <a:pt x="17" y="131"/>
                        </a:cubicBezTo>
                        <a:cubicBezTo>
                          <a:pt x="19" y="130"/>
                          <a:pt x="17" y="125"/>
                          <a:pt x="16" y="124"/>
                        </a:cubicBezTo>
                        <a:cubicBezTo>
                          <a:pt x="16" y="124"/>
                          <a:pt x="15" y="124"/>
                          <a:pt x="15" y="124"/>
                        </a:cubicBezTo>
                        <a:cubicBezTo>
                          <a:pt x="15" y="123"/>
                          <a:pt x="15" y="122"/>
                          <a:pt x="15" y="120"/>
                        </a:cubicBezTo>
                        <a:cubicBezTo>
                          <a:pt x="17" y="120"/>
                          <a:pt x="18" y="118"/>
                          <a:pt x="19" y="117"/>
                        </a:cubicBezTo>
                        <a:cubicBezTo>
                          <a:pt x="20" y="116"/>
                          <a:pt x="20" y="116"/>
                          <a:pt x="22" y="116"/>
                        </a:cubicBezTo>
                        <a:cubicBezTo>
                          <a:pt x="24" y="115"/>
                          <a:pt x="32" y="117"/>
                          <a:pt x="32" y="113"/>
                        </a:cubicBezTo>
                        <a:cubicBezTo>
                          <a:pt x="34" y="113"/>
                          <a:pt x="36" y="113"/>
                          <a:pt x="38" y="112"/>
                        </a:cubicBezTo>
                        <a:cubicBezTo>
                          <a:pt x="40" y="112"/>
                          <a:pt x="41" y="112"/>
                          <a:pt x="43" y="112"/>
                        </a:cubicBezTo>
                        <a:cubicBezTo>
                          <a:pt x="44" y="113"/>
                          <a:pt x="45" y="114"/>
                          <a:pt x="46" y="114"/>
                        </a:cubicBezTo>
                        <a:cubicBezTo>
                          <a:pt x="48" y="114"/>
                          <a:pt x="51" y="114"/>
                          <a:pt x="53" y="114"/>
                        </a:cubicBezTo>
                        <a:cubicBezTo>
                          <a:pt x="55" y="114"/>
                          <a:pt x="56" y="113"/>
                          <a:pt x="58" y="113"/>
                        </a:cubicBezTo>
                        <a:cubicBezTo>
                          <a:pt x="60" y="113"/>
                          <a:pt x="61" y="114"/>
                          <a:pt x="63" y="115"/>
                        </a:cubicBezTo>
                        <a:cubicBezTo>
                          <a:pt x="65" y="116"/>
                          <a:pt x="66" y="114"/>
                          <a:pt x="68" y="116"/>
                        </a:cubicBezTo>
                        <a:cubicBezTo>
                          <a:pt x="69" y="117"/>
                          <a:pt x="69" y="119"/>
                          <a:pt x="70" y="120"/>
                        </a:cubicBezTo>
                        <a:cubicBezTo>
                          <a:pt x="72" y="120"/>
                          <a:pt x="72" y="118"/>
                          <a:pt x="73" y="117"/>
                        </a:cubicBezTo>
                        <a:cubicBezTo>
                          <a:pt x="74" y="117"/>
                          <a:pt x="75" y="117"/>
                          <a:pt x="76" y="117"/>
                        </a:cubicBezTo>
                        <a:cubicBezTo>
                          <a:pt x="76" y="118"/>
                          <a:pt x="75" y="120"/>
                          <a:pt x="76" y="122"/>
                        </a:cubicBezTo>
                        <a:cubicBezTo>
                          <a:pt x="77" y="124"/>
                          <a:pt x="78" y="123"/>
                          <a:pt x="80" y="123"/>
                        </a:cubicBezTo>
                        <a:cubicBezTo>
                          <a:pt x="80" y="122"/>
                          <a:pt x="80" y="121"/>
                          <a:pt x="81" y="120"/>
                        </a:cubicBezTo>
                        <a:cubicBezTo>
                          <a:pt x="82" y="120"/>
                          <a:pt x="83" y="120"/>
                          <a:pt x="83" y="120"/>
                        </a:cubicBezTo>
                        <a:cubicBezTo>
                          <a:pt x="84" y="116"/>
                          <a:pt x="87" y="117"/>
                          <a:pt x="89" y="117"/>
                        </a:cubicBezTo>
                        <a:cubicBezTo>
                          <a:pt x="93" y="116"/>
                          <a:pt x="89" y="115"/>
                          <a:pt x="90" y="113"/>
                        </a:cubicBezTo>
                        <a:cubicBezTo>
                          <a:pt x="90" y="111"/>
                          <a:pt x="93" y="111"/>
                          <a:pt x="93" y="109"/>
                        </a:cubicBezTo>
                        <a:cubicBezTo>
                          <a:pt x="94" y="109"/>
                          <a:pt x="96" y="109"/>
                          <a:pt x="97" y="110"/>
                        </a:cubicBezTo>
                        <a:cubicBezTo>
                          <a:pt x="98" y="111"/>
                          <a:pt x="98" y="114"/>
                          <a:pt x="100" y="114"/>
                        </a:cubicBezTo>
                        <a:cubicBezTo>
                          <a:pt x="100" y="112"/>
                          <a:pt x="101" y="112"/>
                          <a:pt x="101" y="110"/>
                        </a:cubicBezTo>
                        <a:cubicBezTo>
                          <a:pt x="102" y="108"/>
                          <a:pt x="101" y="107"/>
                          <a:pt x="103" y="106"/>
                        </a:cubicBezTo>
                        <a:cubicBezTo>
                          <a:pt x="106" y="104"/>
                          <a:pt x="110" y="110"/>
                          <a:pt x="113" y="106"/>
                        </a:cubicBezTo>
                        <a:cubicBezTo>
                          <a:pt x="114" y="106"/>
                          <a:pt x="116" y="106"/>
                          <a:pt x="118" y="106"/>
                        </a:cubicBezTo>
                        <a:cubicBezTo>
                          <a:pt x="120" y="106"/>
                          <a:pt x="122" y="106"/>
                          <a:pt x="124" y="106"/>
                        </a:cubicBezTo>
                        <a:cubicBezTo>
                          <a:pt x="124" y="108"/>
                          <a:pt x="122" y="107"/>
                          <a:pt x="121" y="108"/>
                        </a:cubicBezTo>
                        <a:cubicBezTo>
                          <a:pt x="120" y="108"/>
                          <a:pt x="119" y="110"/>
                          <a:pt x="119" y="111"/>
                        </a:cubicBezTo>
                        <a:cubicBezTo>
                          <a:pt x="122" y="112"/>
                          <a:pt x="122" y="114"/>
                          <a:pt x="121" y="116"/>
                        </a:cubicBezTo>
                        <a:cubicBezTo>
                          <a:pt x="121" y="118"/>
                          <a:pt x="120" y="120"/>
                          <a:pt x="121" y="122"/>
                        </a:cubicBezTo>
                        <a:cubicBezTo>
                          <a:pt x="123" y="123"/>
                          <a:pt x="124" y="121"/>
                          <a:pt x="126" y="120"/>
                        </a:cubicBezTo>
                        <a:cubicBezTo>
                          <a:pt x="128" y="120"/>
                          <a:pt x="131" y="119"/>
                          <a:pt x="133" y="120"/>
                        </a:cubicBezTo>
                        <a:cubicBezTo>
                          <a:pt x="135" y="120"/>
                          <a:pt x="135" y="123"/>
                          <a:pt x="137" y="124"/>
                        </a:cubicBezTo>
                        <a:cubicBezTo>
                          <a:pt x="138" y="125"/>
                          <a:pt x="141" y="125"/>
                          <a:pt x="143" y="125"/>
                        </a:cubicBezTo>
                        <a:cubicBezTo>
                          <a:pt x="141" y="125"/>
                          <a:pt x="141" y="130"/>
                          <a:pt x="141" y="132"/>
                        </a:cubicBezTo>
                        <a:cubicBezTo>
                          <a:pt x="142" y="135"/>
                          <a:pt x="146" y="135"/>
                          <a:pt x="148" y="137"/>
                        </a:cubicBezTo>
                        <a:cubicBezTo>
                          <a:pt x="149" y="139"/>
                          <a:pt x="149" y="141"/>
                          <a:pt x="148" y="143"/>
                        </a:cubicBezTo>
                        <a:cubicBezTo>
                          <a:pt x="148" y="143"/>
                          <a:pt x="146" y="143"/>
                          <a:pt x="145" y="144"/>
                        </a:cubicBezTo>
                        <a:cubicBezTo>
                          <a:pt x="143" y="145"/>
                          <a:pt x="142" y="148"/>
                          <a:pt x="139" y="149"/>
                        </a:cubicBezTo>
                        <a:cubicBezTo>
                          <a:pt x="137" y="150"/>
                          <a:pt x="135" y="150"/>
                          <a:pt x="133" y="151"/>
                        </a:cubicBezTo>
                        <a:cubicBezTo>
                          <a:pt x="131" y="153"/>
                          <a:pt x="131" y="155"/>
                          <a:pt x="129" y="156"/>
                        </a:cubicBezTo>
                        <a:cubicBezTo>
                          <a:pt x="125" y="157"/>
                          <a:pt x="121" y="155"/>
                          <a:pt x="118" y="158"/>
                        </a:cubicBezTo>
                        <a:cubicBezTo>
                          <a:pt x="116" y="160"/>
                          <a:pt x="115" y="165"/>
                          <a:pt x="115" y="168"/>
                        </a:cubicBezTo>
                        <a:cubicBezTo>
                          <a:pt x="114" y="170"/>
                          <a:pt x="115" y="172"/>
                          <a:pt x="117" y="174"/>
                        </a:cubicBezTo>
                        <a:cubicBezTo>
                          <a:pt x="117" y="174"/>
                          <a:pt x="123" y="178"/>
                          <a:pt x="123" y="177"/>
                        </a:cubicBezTo>
                        <a:cubicBezTo>
                          <a:pt x="123" y="178"/>
                          <a:pt x="123" y="180"/>
                          <a:pt x="122" y="181"/>
                        </a:cubicBezTo>
                        <a:cubicBezTo>
                          <a:pt x="122" y="181"/>
                          <a:pt x="121" y="181"/>
                          <a:pt x="121" y="181"/>
                        </a:cubicBezTo>
                        <a:cubicBezTo>
                          <a:pt x="122" y="183"/>
                          <a:pt x="123" y="187"/>
                          <a:pt x="122" y="189"/>
                        </a:cubicBezTo>
                        <a:cubicBezTo>
                          <a:pt x="122" y="189"/>
                          <a:pt x="131" y="188"/>
                          <a:pt x="132" y="188"/>
                        </a:cubicBezTo>
                        <a:cubicBezTo>
                          <a:pt x="132" y="190"/>
                          <a:pt x="132" y="192"/>
                          <a:pt x="132" y="194"/>
                        </a:cubicBezTo>
                        <a:cubicBezTo>
                          <a:pt x="134" y="194"/>
                          <a:pt x="136" y="193"/>
                          <a:pt x="137" y="192"/>
                        </a:cubicBezTo>
                        <a:cubicBezTo>
                          <a:pt x="138" y="191"/>
                          <a:pt x="138" y="190"/>
                          <a:pt x="138" y="188"/>
                        </a:cubicBezTo>
                        <a:cubicBezTo>
                          <a:pt x="139" y="188"/>
                          <a:pt x="140" y="188"/>
                          <a:pt x="141" y="188"/>
                        </a:cubicBezTo>
                        <a:cubicBezTo>
                          <a:pt x="141" y="187"/>
                          <a:pt x="141" y="185"/>
                          <a:pt x="141" y="185"/>
                        </a:cubicBezTo>
                        <a:cubicBezTo>
                          <a:pt x="142" y="183"/>
                          <a:pt x="143" y="184"/>
                          <a:pt x="144" y="183"/>
                        </a:cubicBezTo>
                        <a:cubicBezTo>
                          <a:pt x="145" y="181"/>
                          <a:pt x="145" y="178"/>
                          <a:pt x="145" y="176"/>
                        </a:cubicBezTo>
                        <a:cubicBezTo>
                          <a:pt x="146" y="178"/>
                          <a:pt x="149" y="179"/>
                          <a:pt x="150" y="182"/>
                        </a:cubicBezTo>
                        <a:cubicBezTo>
                          <a:pt x="152" y="182"/>
                          <a:pt x="153" y="180"/>
                          <a:pt x="154" y="180"/>
                        </a:cubicBezTo>
                        <a:cubicBezTo>
                          <a:pt x="156" y="179"/>
                          <a:pt x="158" y="180"/>
                          <a:pt x="159" y="180"/>
                        </a:cubicBezTo>
                        <a:cubicBezTo>
                          <a:pt x="159" y="178"/>
                          <a:pt x="160" y="177"/>
                          <a:pt x="160" y="175"/>
                        </a:cubicBezTo>
                        <a:cubicBezTo>
                          <a:pt x="161" y="173"/>
                          <a:pt x="162" y="172"/>
                          <a:pt x="162" y="170"/>
                        </a:cubicBezTo>
                        <a:cubicBezTo>
                          <a:pt x="162" y="166"/>
                          <a:pt x="162" y="163"/>
                          <a:pt x="162" y="159"/>
                        </a:cubicBezTo>
                        <a:cubicBezTo>
                          <a:pt x="164" y="159"/>
                          <a:pt x="166" y="160"/>
                          <a:pt x="167" y="160"/>
                        </a:cubicBezTo>
                        <a:cubicBezTo>
                          <a:pt x="168" y="158"/>
                          <a:pt x="168" y="156"/>
                          <a:pt x="168" y="154"/>
                        </a:cubicBezTo>
                        <a:cubicBezTo>
                          <a:pt x="169" y="152"/>
                          <a:pt x="169" y="151"/>
                          <a:pt x="168" y="149"/>
                        </a:cubicBezTo>
                        <a:cubicBezTo>
                          <a:pt x="169" y="148"/>
                          <a:pt x="170" y="148"/>
                          <a:pt x="170" y="148"/>
                        </a:cubicBezTo>
                        <a:cubicBezTo>
                          <a:pt x="171" y="147"/>
                          <a:pt x="172" y="146"/>
                          <a:pt x="172" y="145"/>
                        </a:cubicBezTo>
                        <a:cubicBezTo>
                          <a:pt x="172" y="144"/>
                          <a:pt x="172" y="142"/>
                          <a:pt x="172" y="141"/>
                        </a:cubicBezTo>
                        <a:cubicBezTo>
                          <a:pt x="173" y="140"/>
                          <a:pt x="174" y="139"/>
                          <a:pt x="175" y="138"/>
                        </a:cubicBezTo>
                        <a:cubicBezTo>
                          <a:pt x="176" y="137"/>
                          <a:pt x="176" y="137"/>
                          <a:pt x="178" y="137"/>
                        </a:cubicBezTo>
                        <a:cubicBezTo>
                          <a:pt x="177" y="135"/>
                          <a:pt x="177" y="133"/>
                          <a:pt x="177" y="131"/>
                        </a:cubicBezTo>
                        <a:cubicBezTo>
                          <a:pt x="177" y="127"/>
                          <a:pt x="176" y="129"/>
                          <a:pt x="173" y="127"/>
                        </a:cubicBezTo>
                        <a:cubicBezTo>
                          <a:pt x="172" y="125"/>
                          <a:pt x="172" y="125"/>
                          <a:pt x="172" y="125"/>
                        </a:cubicBezTo>
                        <a:cubicBezTo>
                          <a:pt x="171" y="124"/>
                          <a:pt x="171" y="125"/>
                          <a:pt x="171" y="123"/>
                        </a:cubicBezTo>
                        <a:cubicBezTo>
                          <a:pt x="172" y="122"/>
                          <a:pt x="175" y="121"/>
                          <a:pt x="177" y="121"/>
                        </a:cubicBezTo>
                        <a:cubicBezTo>
                          <a:pt x="177" y="119"/>
                          <a:pt x="178" y="119"/>
                          <a:pt x="179" y="118"/>
                        </a:cubicBezTo>
                        <a:cubicBezTo>
                          <a:pt x="179" y="116"/>
                          <a:pt x="178" y="115"/>
                          <a:pt x="179" y="114"/>
                        </a:cubicBezTo>
                        <a:cubicBezTo>
                          <a:pt x="181" y="112"/>
                          <a:pt x="185" y="112"/>
                          <a:pt x="186" y="109"/>
                        </a:cubicBezTo>
                        <a:cubicBezTo>
                          <a:pt x="185" y="108"/>
                          <a:pt x="185" y="107"/>
                          <a:pt x="185" y="106"/>
                        </a:cubicBezTo>
                        <a:cubicBezTo>
                          <a:pt x="187" y="105"/>
                          <a:pt x="189" y="105"/>
                          <a:pt x="190" y="104"/>
                        </a:cubicBezTo>
                        <a:cubicBezTo>
                          <a:pt x="189" y="105"/>
                          <a:pt x="190" y="107"/>
                          <a:pt x="190" y="108"/>
                        </a:cubicBezTo>
                        <a:cubicBezTo>
                          <a:pt x="191" y="110"/>
                          <a:pt x="192" y="110"/>
                          <a:pt x="194" y="109"/>
                        </a:cubicBezTo>
                        <a:cubicBezTo>
                          <a:pt x="198" y="109"/>
                          <a:pt x="199" y="106"/>
                          <a:pt x="198" y="102"/>
                        </a:cubicBezTo>
                        <a:cubicBezTo>
                          <a:pt x="198" y="100"/>
                          <a:pt x="198" y="100"/>
                          <a:pt x="200" y="98"/>
                        </a:cubicBezTo>
                        <a:cubicBezTo>
                          <a:pt x="202" y="96"/>
                          <a:pt x="200" y="96"/>
                          <a:pt x="199" y="94"/>
                        </a:cubicBezTo>
                        <a:cubicBezTo>
                          <a:pt x="199" y="94"/>
                          <a:pt x="203" y="87"/>
                          <a:pt x="203" y="86"/>
                        </a:cubicBezTo>
                        <a:cubicBezTo>
                          <a:pt x="205" y="85"/>
                          <a:pt x="206" y="85"/>
                          <a:pt x="207" y="84"/>
                        </a:cubicBezTo>
                        <a:cubicBezTo>
                          <a:pt x="209" y="81"/>
                          <a:pt x="208" y="78"/>
                          <a:pt x="210" y="76"/>
                        </a:cubicBezTo>
                        <a:cubicBezTo>
                          <a:pt x="210" y="75"/>
                          <a:pt x="212" y="75"/>
                          <a:pt x="212" y="75"/>
                        </a:cubicBezTo>
                        <a:cubicBezTo>
                          <a:pt x="213" y="76"/>
                          <a:pt x="212" y="78"/>
                          <a:pt x="212" y="79"/>
                        </a:cubicBezTo>
                        <a:cubicBezTo>
                          <a:pt x="213" y="79"/>
                          <a:pt x="213" y="80"/>
                          <a:pt x="214" y="79"/>
                        </a:cubicBezTo>
                        <a:cubicBezTo>
                          <a:pt x="215" y="79"/>
                          <a:pt x="215" y="79"/>
                          <a:pt x="215" y="78"/>
                        </a:cubicBezTo>
                        <a:cubicBezTo>
                          <a:pt x="216" y="77"/>
                          <a:pt x="218" y="77"/>
                          <a:pt x="218" y="75"/>
                        </a:cubicBezTo>
                        <a:cubicBezTo>
                          <a:pt x="218" y="74"/>
                          <a:pt x="218" y="73"/>
                          <a:pt x="219" y="72"/>
                        </a:cubicBezTo>
                        <a:cubicBezTo>
                          <a:pt x="221" y="67"/>
                          <a:pt x="227" y="66"/>
                          <a:pt x="231" y="63"/>
                        </a:cubicBezTo>
                        <a:cubicBezTo>
                          <a:pt x="232" y="63"/>
                          <a:pt x="234" y="62"/>
                          <a:pt x="235" y="61"/>
                        </a:cubicBezTo>
                        <a:cubicBezTo>
                          <a:pt x="235" y="60"/>
                          <a:pt x="236" y="58"/>
                          <a:pt x="237" y="58"/>
                        </a:cubicBezTo>
                        <a:cubicBezTo>
                          <a:pt x="238" y="57"/>
                          <a:pt x="237" y="55"/>
                          <a:pt x="238" y="55"/>
                        </a:cubicBezTo>
                        <a:cubicBezTo>
                          <a:pt x="239" y="54"/>
                          <a:pt x="241" y="54"/>
                          <a:pt x="242" y="54"/>
                        </a:cubicBezTo>
                        <a:cubicBezTo>
                          <a:pt x="243" y="53"/>
                          <a:pt x="244" y="54"/>
                          <a:pt x="245" y="53"/>
                        </a:cubicBezTo>
                        <a:cubicBezTo>
                          <a:pt x="245" y="53"/>
                          <a:pt x="246" y="52"/>
                          <a:pt x="247" y="52"/>
                        </a:cubicBezTo>
                        <a:cubicBezTo>
                          <a:pt x="247" y="51"/>
                          <a:pt x="249" y="50"/>
                          <a:pt x="249" y="49"/>
                        </a:cubicBezTo>
                        <a:cubicBezTo>
                          <a:pt x="250" y="49"/>
                          <a:pt x="250" y="48"/>
                          <a:pt x="251" y="48"/>
                        </a:cubicBezTo>
                        <a:cubicBezTo>
                          <a:pt x="252" y="47"/>
                          <a:pt x="253" y="48"/>
                          <a:pt x="254" y="48"/>
                        </a:cubicBezTo>
                        <a:cubicBezTo>
                          <a:pt x="255" y="47"/>
                          <a:pt x="256" y="47"/>
                          <a:pt x="256" y="46"/>
                        </a:cubicBezTo>
                        <a:cubicBezTo>
                          <a:pt x="256" y="46"/>
                          <a:pt x="256" y="46"/>
                          <a:pt x="256" y="46"/>
                        </a:cubicBezTo>
                        <a:cubicBezTo>
                          <a:pt x="256" y="46"/>
                          <a:pt x="258" y="44"/>
                          <a:pt x="259" y="43"/>
                        </a:cubicBezTo>
                        <a:cubicBezTo>
                          <a:pt x="259" y="43"/>
                          <a:pt x="262" y="42"/>
                          <a:pt x="262" y="42"/>
                        </a:cubicBezTo>
                        <a:cubicBezTo>
                          <a:pt x="262" y="41"/>
                          <a:pt x="262" y="39"/>
                          <a:pt x="262" y="38"/>
                        </a:cubicBezTo>
                        <a:cubicBezTo>
                          <a:pt x="263" y="36"/>
                          <a:pt x="263" y="36"/>
                          <a:pt x="265" y="36"/>
                        </a:cubicBezTo>
                        <a:cubicBezTo>
                          <a:pt x="266" y="37"/>
                          <a:pt x="271" y="37"/>
                          <a:pt x="272" y="37"/>
                        </a:cubicBezTo>
                        <a:cubicBezTo>
                          <a:pt x="273" y="36"/>
                          <a:pt x="274" y="36"/>
                          <a:pt x="275" y="36"/>
                        </a:cubicBezTo>
                        <a:cubicBezTo>
                          <a:pt x="276" y="35"/>
                          <a:pt x="278" y="35"/>
                          <a:pt x="278" y="34"/>
                        </a:cubicBezTo>
                        <a:cubicBezTo>
                          <a:pt x="281" y="35"/>
                          <a:pt x="284" y="33"/>
                          <a:pt x="285" y="30"/>
                        </a:cubicBezTo>
                        <a:cubicBezTo>
                          <a:pt x="285" y="28"/>
                          <a:pt x="286" y="25"/>
                          <a:pt x="284" y="26"/>
                        </a:cubicBezTo>
                        <a:cubicBezTo>
                          <a:pt x="283" y="26"/>
                          <a:pt x="283" y="27"/>
                          <a:pt x="282" y="27"/>
                        </a:cubicBezTo>
                        <a:cubicBezTo>
                          <a:pt x="281" y="28"/>
                          <a:pt x="280" y="28"/>
                          <a:pt x="280" y="28"/>
                        </a:cubicBezTo>
                        <a:cubicBezTo>
                          <a:pt x="279" y="26"/>
                          <a:pt x="279" y="25"/>
                          <a:pt x="278" y="24"/>
                        </a:cubicBezTo>
                        <a:cubicBezTo>
                          <a:pt x="278" y="23"/>
                          <a:pt x="278" y="22"/>
                          <a:pt x="278" y="20"/>
                        </a:cubicBezTo>
                        <a:cubicBezTo>
                          <a:pt x="274" y="19"/>
                          <a:pt x="274" y="16"/>
                          <a:pt x="274" y="13"/>
                        </a:cubicBezTo>
                        <a:cubicBezTo>
                          <a:pt x="274" y="11"/>
                          <a:pt x="274" y="9"/>
                          <a:pt x="275" y="8"/>
                        </a:cubicBezTo>
                        <a:cubicBezTo>
                          <a:pt x="275" y="7"/>
                          <a:pt x="276" y="7"/>
                          <a:pt x="277" y="7"/>
                        </a:cubicBezTo>
                        <a:cubicBezTo>
                          <a:pt x="278" y="6"/>
                          <a:pt x="278" y="6"/>
                          <a:pt x="279" y="5"/>
                        </a:cubicBezTo>
                        <a:cubicBezTo>
                          <a:pt x="279" y="4"/>
                          <a:pt x="281" y="3"/>
                          <a:pt x="280" y="2"/>
                        </a:cubicBezTo>
                        <a:cubicBezTo>
                          <a:pt x="279" y="0"/>
                          <a:pt x="275" y="1"/>
                          <a:pt x="273" y="1"/>
                        </a:cubicBezTo>
                        <a:cubicBezTo>
                          <a:pt x="272" y="1"/>
                          <a:pt x="271" y="2"/>
                          <a:pt x="269" y="2"/>
                        </a:cubicBezTo>
                        <a:cubicBezTo>
                          <a:pt x="268" y="2"/>
                          <a:pt x="267" y="2"/>
                          <a:pt x="266" y="3"/>
                        </a:cubicBezTo>
                        <a:cubicBezTo>
                          <a:pt x="264" y="4"/>
                          <a:pt x="264" y="4"/>
                          <a:pt x="263" y="5"/>
                        </a:cubicBezTo>
                        <a:cubicBezTo>
                          <a:pt x="261" y="5"/>
                          <a:pt x="261" y="5"/>
                          <a:pt x="259" y="6"/>
                        </a:cubicBezTo>
                        <a:cubicBezTo>
                          <a:pt x="258" y="7"/>
                          <a:pt x="257" y="7"/>
                          <a:pt x="256" y="7"/>
                        </a:cubicBezTo>
                        <a:cubicBezTo>
                          <a:pt x="255" y="7"/>
                          <a:pt x="253" y="7"/>
                          <a:pt x="252" y="8"/>
                        </a:cubicBezTo>
                        <a:cubicBezTo>
                          <a:pt x="251" y="8"/>
                          <a:pt x="252" y="8"/>
                          <a:pt x="251" y="9"/>
                        </a:cubicBezTo>
                        <a:cubicBezTo>
                          <a:pt x="251" y="9"/>
                          <a:pt x="250" y="9"/>
                          <a:pt x="249" y="9"/>
                        </a:cubicBezTo>
                        <a:cubicBezTo>
                          <a:pt x="249" y="9"/>
                          <a:pt x="248" y="10"/>
                          <a:pt x="248" y="10"/>
                        </a:cubicBezTo>
                        <a:cubicBezTo>
                          <a:pt x="247" y="11"/>
                          <a:pt x="247" y="11"/>
                          <a:pt x="246" y="11"/>
                        </a:cubicBezTo>
                        <a:cubicBezTo>
                          <a:pt x="246" y="11"/>
                          <a:pt x="245" y="11"/>
                          <a:pt x="244" y="11"/>
                        </a:cubicBezTo>
                        <a:cubicBezTo>
                          <a:pt x="244" y="12"/>
                          <a:pt x="243" y="12"/>
                          <a:pt x="243" y="12"/>
                        </a:cubicBezTo>
                        <a:cubicBezTo>
                          <a:pt x="241" y="13"/>
                          <a:pt x="240" y="13"/>
                          <a:pt x="239" y="13"/>
                        </a:cubicBezTo>
                        <a:cubicBezTo>
                          <a:pt x="239" y="14"/>
                          <a:pt x="239" y="14"/>
                          <a:pt x="238" y="14"/>
                        </a:cubicBezTo>
                        <a:cubicBezTo>
                          <a:pt x="237" y="15"/>
                          <a:pt x="237" y="15"/>
                          <a:pt x="236" y="15"/>
                        </a:cubicBezTo>
                        <a:cubicBezTo>
                          <a:pt x="236" y="16"/>
                          <a:pt x="235" y="16"/>
                          <a:pt x="234" y="16"/>
                        </a:cubicBezTo>
                        <a:cubicBezTo>
                          <a:pt x="234" y="16"/>
                          <a:pt x="234" y="16"/>
                          <a:pt x="233" y="17"/>
                        </a:cubicBezTo>
                        <a:cubicBezTo>
                          <a:pt x="233" y="17"/>
                          <a:pt x="233" y="17"/>
                          <a:pt x="233" y="17"/>
                        </a:cubicBezTo>
                        <a:cubicBezTo>
                          <a:pt x="232" y="17"/>
                          <a:pt x="232" y="17"/>
                          <a:pt x="232" y="17"/>
                        </a:cubicBezTo>
                        <a:cubicBezTo>
                          <a:pt x="231" y="17"/>
                          <a:pt x="231" y="17"/>
                          <a:pt x="231" y="17"/>
                        </a:cubicBezTo>
                        <a:cubicBezTo>
                          <a:pt x="230" y="18"/>
                          <a:pt x="229" y="18"/>
                          <a:pt x="229" y="19"/>
                        </a:cubicBezTo>
                        <a:cubicBezTo>
                          <a:pt x="228" y="20"/>
                          <a:pt x="227" y="20"/>
                          <a:pt x="226" y="21"/>
                        </a:cubicBezTo>
                        <a:cubicBezTo>
                          <a:pt x="224" y="21"/>
                          <a:pt x="223" y="22"/>
                          <a:pt x="222" y="23"/>
                        </a:cubicBezTo>
                        <a:cubicBezTo>
                          <a:pt x="220" y="24"/>
                          <a:pt x="219" y="23"/>
                          <a:pt x="218" y="24"/>
                        </a:cubicBezTo>
                        <a:cubicBezTo>
                          <a:pt x="218" y="25"/>
                          <a:pt x="216" y="25"/>
                          <a:pt x="215" y="25"/>
                        </a:cubicBezTo>
                        <a:cubicBezTo>
                          <a:pt x="213" y="25"/>
                          <a:pt x="213" y="26"/>
                          <a:pt x="211" y="26"/>
                        </a:cubicBezTo>
                        <a:cubicBezTo>
                          <a:pt x="210" y="26"/>
                          <a:pt x="209" y="25"/>
                          <a:pt x="208" y="24"/>
                        </a:cubicBezTo>
                        <a:cubicBezTo>
                          <a:pt x="207" y="24"/>
                          <a:pt x="205" y="23"/>
                          <a:pt x="204" y="24"/>
                        </a:cubicBezTo>
                        <a:cubicBezTo>
                          <a:pt x="204" y="24"/>
                          <a:pt x="203" y="24"/>
                          <a:pt x="203" y="25"/>
                        </a:cubicBezTo>
                        <a:cubicBezTo>
                          <a:pt x="204" y="26"/>
                          <a:pt x="204" y="25"/>
                          <a:pt x="205" y="26"/>
                        </a:cubicBezTo>
                        <a:cubicBezTo>
                          <a:pt x="206" y="27"/>
                          <a:pt x="206" y="30"/>
                          <a:pt x="206" y="31"/>
                        </a:cubicBezTo>
                        <a:cubicBezTo>
                          <a:pt x="205" y="31"/>
                          <a:pt x="205" y="31"/>
                          <a:pt x="205" y="32"/>
                        </a:cubicBezTo>
                        <a:cubicBezTo>
                          <a:pt x="204" y="32"/>
                          <a:pt x="203" y="33"/>
                          <a:pt x="203" y="34"/>
                        </a:cubicBezTo>
                        <a:cubicBezTo>
                          <a:pt x="202" y="35"/>
                          <a:pt x="201" y="35"/>
                          <a:pt x="200" y="36"/>
                        </a:cubicBezTo>
                        <a:cubicBezTo>
                          <a:pt x="200" y="37"/>
                          <a:pt x="199" y="37"/>
                          <a:pt x="198" y="38"/>
                        </a:cubicBezTo>
                        <a:cubicBezTo>
                          <a:pt x="197" y="39"/>
                          <a:pt x="197" y="39"/>
                          <a:pt x="197" y="39"/>
                        </a:cubicBezTo>
                        <a:cubicBezTo>
                          <a:pt x="196" y="40"/>
                          <a:pt x="196" y="40"/>
                          <a:pt x="195" y="40"/>
                        </a:cubicBezTo>
                        <a:cubicBezTo>
                          <a:pt x="194" y="42"/>
                          <a:pt x="193" y="43"/>
                          <a:pt x="191" y="45"/>
                        </a:cubicBezTo>
                        <a:cubicBezTo>
                          <a:pt x="191" y="46"/>
                          <a:pt x="190" y="47"/>
                          <a:pt x="190" y="48"/>
                        </a:cubicBezTo>
                        <a:cubicBezTo>
                          <a:pt x="190" y="49"/>
                          <a:pt x="191" y="50"/>
                          <a:pt x="190" y="51"/>
                        </a:cubicBezTo>
                        <a:cubicBezTo>
                          <a:pt x="189" y="51"/>
                          <a:pt x="188" y="51"/>
                          <a:pt x="187" y="52"/>
                        </a:cubicBezTo>
                        <a:cubicBezTo>
                          <a:pt x="187" y="53"/>
                          <a:pt x="186" y="54"/>
                          <a:pt x="186" y="55"/>
                        </a:cubicBezTo>
                        <a:cubicBezTo>
                          <a:pt x="185" y="56"/>
                          <a:pt x="184" y="57"/>
                          <a:pt x="182" y="57"/>
                        </a:cubicBezTo>
                        <a:cubicBezTo>
                          <a:pt x="181" y="57"/>
                          <a:pt x="180" y="57"/>
                          <a:pt x="178" y="57"/>
                        </a:cubicBezTo>
                        <a:cubicBezTo>
                          <a:pt x="178" y="57"/>
                          <a:pt x="177" y="57"/>
                          <a:pt x="177" y="57"/>
                        </a:cubicBezTo>
                        <a:cubicBezTo>
                          <a:pt x="176" y="57"/>
                          <a:pt x="175" y="58"/>
                          <a:pt x="175" y="58"/>
                        </a:cubicBezTo>
                        <a:cubicBezTo>
                          <a:pt x="174" y="58"/>
                          <a:pt x="172" y="58"/>
                          <a:pt x="171" y="58"/>
                        </a:cubicBezTo>
                        <a:cubicBezTo>
                          <a:pt x="168" y="58"/>
                          <a:pt x="166" y="58"/>
                          <a:pt x="163" y="60"/>
                        </a:cubicBezTo>
                        <a:cubicBezTo>
                          <a:pt x="162" y="61"/>
                          <a:pt x="160" y="61"/>
                          <a:pt x="159" y="61"/>
                        </a:cubicBezTo>
                        <a:cubicBezTo>
                          <a:pt x="157" y="61"/>
                          <a:pt x="155" y="61"/>
                          <a:pt x="153" y="60"/>
                        </a:cubicBezTo>
                        <a:cubicBezTo>
                          <a:pt x="152" y="59"/>
                          <a:pt x="150" y="59"/>
                          <a:pt x="149" y="59"/>
                        </a:cubicBezTo>
                        <a:cubicBezTo>
                          <a:pt x="146" y="58"/>
                          <a:pt x="144" y="57"/>
                          <a:pt x="141" y="57"/>
                        </a:cubicBezTo>
                        <a:cubicBezTo>
                          <a:pt x="139" y="57"/>
                          <a:pt x="139" y="58"/>
                          <a:pt x="138" y="59"/>
                        </a:cubicBezTo>
                        <a:cubicBezTo>
                          <a:pt x="137" y="59"/>
                          <a:pt x="137" y="59"/>
                          <a:pt x="136" y="59"/>
                        </a:cubicBezTo>
                        <a:cubicBezTo>
                          <a:pt x="135" y="59"/>
                          <a:pt x="135" y="60"/>
                          <a:pt x="134" y="60"/>
                        </a:cubicBezTo>
                        <a:cubicBezTo>
                          <a:pt x="132" y="61"/>
                          <a:pt x="131" y="62"/>
                          <a:pt x="129" y="62"/>
                        </a:cubicBezTo>
                        <a:cubicBezTo>
                          <a:pt x="128" y="62"/>
                          <a:pt x="126" y="62"/>
                          <a:pt x="125" y="63"/>
                        </a:cubicBezTo>
                        <a:cubicBezTo>
                          <a:pt x="124" y="63"/>
                          <a:pt x="123" y="64"/>
                          <a:pt x="122" y="64"/>
                        </a:cubicBezTo>
                        <a:cubicBezTo>
                          <a:pt x="121" y="64"/>
                          <a:pt x="120" y="64"/>
                          <a:pt x="120" y="64"/>
                        </a:cubicBezTo>
                        <a:cubicBezTo>
                          <a:pt x="118" y="65"/>
                          <a:pt x="117" y="65"/>
                          <a:pt x="116" y="65"/>
                        </a:cubicBezTo>
                        <a:cubicBezTo>
                          <a:pt x="114" y="66"/>
                          <a:pt x="112" y="66"/>
                          <a:pt x="110" y="65"/>
                        </a:cubicBezTo>
                        <a:cubicBezTo>
                          <a:pt x="108" y="65"/>
                          <a:pt x="107" y="63"/>
                          <a:pt x="105" y="62"/>
                        </a:cubicBezTo>
                        <a:cubicBezTo>
                          <a:pt x="102" y="61"/>
                          <a:pt x="100" y="61"/>
                          <a:pt x="98" y="60"/>
                        </a:cubicBezTo>
                        <a:cubicBezTo>
                          <a:pt x="92" y="58"/>
                          <a:pt x="87" y="59"/>
                          <a:pt x="80" y="59"/>
                        </a:cubicBezTo>
                        <a:cubicBezTo>
                          <a:pt x="75" y="58"/>
                          <a:pt x="71" y="56"/>
                          <a:pt x="66" y="56"/>
                        </a:cubicBezTo>
                        <a:cubicBezTo>
                          <a:pt x="57" y="55"/>
                          <a:pt x="49" y="52"/>
                          <a:pt x="41" y="53"/>
                        </a:cubicBezTo>
                        <a:cubicBezTo>
                          <a:pt x="33" y="54"/>
                          <a:pt x="29" y="60"/>
                          <a:pt x="21" y="63"/>
                        </a:cubicBezTo>
                        <a:cubicBezTo>
                          <a:pt x="20" y="64"/>
                          <a:pt x="16" y="64"/>
                          <a:pt x="14" y="65"/>
                        </a:cubicBezTo>
                        <a:cubicBezTo>
                          <a:pt x="13" y="67"/>
                          <a:pt x="14" y="72"/>
                          <a:pt x="14" y="74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24" name="Freeform 443">
                    <a:extLst>
                      <a:ext uri="{FF2B5EF4-FFF2-40B4-BE49-F238E27FC236}">
                        <a16:creationId xmlns:a16="http://schemas.microsoft.com/office/drawing/2014/main" xmlns="" id="{2BCDBAA6-8859-40DF-AA15-370F67FCC7B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32163" y="2224088"/>
                    <a:ext cx="495300" cy="593725"/>
                  </a:xfrm>
                  <a:custGeom>
                    <a:avLst/>
                    <a:gdLst>
                      <a:gd name="T0" fmla="*/ 129 w 140"/>
                      <a:gd name="T1" fmla="*/ 29 h 168"/>
                      <a:gd name="T2" fmla="*/ 117 w 140"/>
                      <a:gd name="T3" fmla="*/ 13 h 168"/>
                      <a:gd name="T4" fmla="*/ 105 w 140"/>
                      <a:gd name="T5" fmla="*/ 0 h 168"/>
                      <a:gd name="T6" fmla="*/ 107 w 140"/>
                      <a:gd name="T7" fmla="*/ 7 h 168"/>
                      <a:gd name="T8" fmla="*/ 103 w 140"/>
                      <a:gd name="T9" fmla="*/ 9 h 168"/>
                      <a:gd name="T10" fmla="*/ 105 w 140"/>
                      <a:gd name="T11" fmla="*/ 13 h 168"/>
                      <a:gd name="T12" fmla="*/ 110 w 140"/>
                      <a:gd name="T13" fmla="*/ 23 h 168"/>
                      <a:gd name="T14" fmla="*/ 104 w 140"/>
                      <a:gd name="T15" fmla="*/ 26 h 168"/>
                      <a:gd name="T16" fmla="*/ 102 w 140"/>
                      <a:gd name="T17" fmla="*/ 32 h 168"/>
                      <a:gd name="T18" fmla="*/ 95 w 140"/>
                      <a:gd name="T19" fmla="*/ 36 h 168"/>
                      <a:gd name="T20" fmla="*/ 92 w 140"/>
                      <a:gd name="T21" fmla="*/ 43 h 168"/>
                      <a:gd name="T22" fmla="*/ 81 w 140"/>
                      <a:gd name="T23" fmla="*/ 39 h 168"/>
                      <a:gd name="T24" fmla="*/ 80 w 140"/>
                      <a:gd name="T25" fmla="*/ 54 h 168"/>
                      <a:gd name="T26" fmla="*/ 75 w 140"/>
                      <a:gd name="T27" fmla="*/ 58 h 168"/>
                      <a:gd name="T28" fmla="*/ 70 w 140"/>
                      <a:gd name="T29" fmla="*/ 60 h 168"/>
                      <a:gd name="T30" fmla="*/ 48 w 140"/>
                      <a:gd name="T31" fmla="*/ 57 h 168"/>
                      <a:gd name="T32" fmla="*/ 35 w 140"/>
                      <a:gd name="T33" fmla="*/ 69 h 168"/>
                      <a:gd name="T34" fmla="*/ 34 w 140"/>
                      <a:gd name="T35" fmla="*/ 57 h 168"/>
                      <a:gd name="T36" fmla="*/ 30 w 140"/>
                      <a:gd name="T37" fmla="*/ 50 h 168"/>
                      <a:gd name="T38" fmla="*/ 10 w 140"/>
                      <a:gd name="T39" fmla="*/ 47 h 168"/>
                      <a:gd name="T40" fmla="*/ 1 w 140"/>
                      <a:gd name="T41" fmla="*/ 46 h 168"/>
                      <a:gd name="T42" fmla="*/ 5 w 140"/>
                      <a:gd name="T43" fmla="*/ 53 h 168"/>
                      <a:gd name="T44" fmla="*/ 5 w 140"/>
                      <a:gd name="T45" fmla="*/ 66 h 168"/>
                      <a:gd name="T46" fmla="*/ 4 w 140"/>
                      <a:gd name="T47" fmla="*/ 76 h 168"/>
                      <a:gd name="T48" fmla="*/ 22 w 140"/>
                      <a:gd name="T49" fmla="*/ 79 h 168"/>
                      <a:gd name="T50" fmla="*/ 37 w 140"/>
                      <a:gd name="T51" fmla="*/ 83 h 168"/>
                      <a:gd name="T52" fmla="*/ 41 w 140"/>
                      <a:gd name="T53" fmla="*/ 95 h 168"/>
                      <a:gd name="T54" fmla="*/ 47 w 140"/>
                      <a:gd name="T55" fmla="*/ 121 h 168"/>
                      <a:gd name="T56" fmla="*/ 65 w 140"/>
                      <a:gd name="T57" fmla="*/ 138 h 168"/>
                      <a:gd name="T58" fmla="*/ 72 w 140"/>
                      <a:gd name="T59" fmla="*/ 156 h 168"/>
                      <a:gd name="T60" fmla="*/ 78 w 140"/>
                      <a:gd name="T61" fmla="*/ 142 h 168"/>
                      <a:gd name="T62" fmla="*/ 93 w 140"/>
                      <a:gd name="T63" fmla="*/ 148 h 168"/>
                      <a:gd name="T64" fmla="*/ 100 w 140"/>
                      <a:gd name="T65" fmla="*/ 140 h 168"/>
                      <a:gd name="T66" fmla="*/ 104 w 140"/>
                      <a:gd name="T67" fmla="*/ 157 h 168"/>
                      <a:gd name="T68" fmla="*/ 110 w 140"/>
                      <a:gd name="T69" fmla="*/ 160 h 168"/>
                      <a:gd name="T70" fmla="*/ 125 w 140"/>
                      <a:gd name="T71" fmla="*/ 155 h 168"/>
                      <a:gd name="T72" fmla="*/ 131 w 140"/>
                      <a:gd name="T73" fmla="*/ 154 h 168"/>
                      <a:gd name="T74" fmla="*/ 132 w 140"/>
                      <a:gd name="T75" fmla="*/ 152 h 168"/>
                      <a:gd name="T76" fmla="*/ 131 w 140"/>
                      <a:gd name="T77" fmla="*/ 148 h 168"/>
                      <a:gd name="T78" fmla="*/ 129 w 140"/>
                      <a:gd name="T79" fmla="*/ 139 h 168"/>
                      <a:gd name="T80" fmla="*/ 121 w 140"/>
                      <a:gd name="T81" fmla="*/ 123 h 168"/>
                      <a:gd name="T82" fmla="*/ 118 w 140"/>
                      <a:gd name="T83" fmla="*/ 125 h 168"/>
                      <a:gd name="T84" fmla="*/ 115 w 140"/>
                      <a:gd name="T85" fmla="*/ 125 h 168"/>
                      <a:gd name="T86" fmla="*/ 114 w 140"/>
                      <a:gd name="T87" fmla="*/ 123 h 168"/>
                      <a:gd name="T88" fmla="*/ 112 w 140"/>
                      <a:gd name="T89" fmla="*/ 122 h 168"/>
                      <a:gd name="T90" fmla="*/ 110 w 140"/>
                      <a:gd name="T91" fmla="*/ 122 h 168"/>
                      <a:gd name="T92" fmla="*/ 106 w 140"/>
                      <a:gd name="T93" fmla="*/ 122 h 168"/>
                      <a:gd name="T94" fmla="*/ 104 w 140"/>
                      <a:gd name="T95" fmla="*/ 119 h 168"/>
                      <a:gd name="T96" fmla="*/ 107 w 140"/>
                      <a:gd name="T97" fmla="*/ 117 h 168"/>
                      <a:gd name="T98" fmla="*/ 108 w 140"/>
                      <a:gd name="T99" fmla="*/ 115 h 168"/>
                      <a:gd name="T100" fmla="*/ 108 w 140"/>
                      <a:gd name="T101" fmla="*/ 110 h 168"/>
                      <a:gd name="T102" fmla="*/ 112 w 140"/>
                      <a:gd name="T103" fmla="*/ 108 h 168"/>
                      <a:gd name="T104" fmla="*/ 115 w 140"/>
                      <a:gd name="T105" fmla="*/ 109 h 168"/>
                      <a:gd name="T106" fmla="*/ 115 w 140"/>
                      <a:gd name="T107" fmla="*/ 70 h 168"/>
                      <a:gd name="T108" fmla="*/ 120 w 140"/>
                      <a:gd name="T109" fmla="*/ 61 h 168"/>
                      <a:gd name="T110" fmla="*/ 130 w 140"/>
                      <a:gd name="T111" fmla="*/ 50 h 168"/>
                      <a:gd name="T112" fmla="*/ 140 w 140"/>
                      <a:gd name="T113" fmla="*/ 35 h 1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140" h="168">
                        <a:moveTo>
                          <a:pt x="139" y="33"/>
                        </a:moveTo>
                        <a:cubicBezTo>
                          <a:pt x="137" y="34"/>
                          <a:pt x="136" y="34"/>
                          <a:pt x="136" y="31"/>
                        </a:cubicBezTo>
                        <a:cubicBezTo>
                          <a:pt x="134" y="30"/>
                          <a:pt x="131" y="31"/>
                          <a:pt x="129" y="29"/>
                        </a:cubicBezTo>
                        <a:cubicBezTo>
                          <a:pt x="127" y="26"/>
                          <a:pt x="125" y="26"/>
                          <a:pt x="122" y="25"/>
                        </a:cubicBezTo>
                        <a:cubicBezTo>
                          <a:pt x="122" y="23"/>
                          <a:pt x="122" y="20"/>
                          <a:pt x="122" y="18"/>
                        </a:cubicBezTo>
                        <a:cubicBezTo>
                          <a:pt x="122" y="16"/>
                          <a:pt x="119" y="15"/>
                          <a:pt x="117" y="13"/>
                        </a:cubicBezTo>
                        <a:cubicBezTo>
                          <a:pt x="116" y="12"/>
                          <a:pt x="114" y="10"/>
                          <a:pt x="112" y="8"/>
                        </a:cubicBezTo>
                        <a:cubicBezTo>
                          <a:pt x="110" y="6"/>
                          <a:pt x="109" y="3"/>
                          <a:pt x="107" y="1"/>
                        </a:cubicBezTo>
                        <a:cubicBezTo>
                          <a:pt x="107" y="1"/>
                          <a:pt x="106" y="0"/>
                          <a:pt x="105" y="0"/>
                        </a:cubicBezTo>
                        <a:cubicBezTo>
                          <a:pt x="105" y="1"/>
                          <a:pt x="105" y="2"/>
                          <a:pt x="105" y="3"/>
                        </a:cubicBezTo>
                        <a:cubicBezTo>
                          <a:pt x="106" y="4"/>
                          <a:pt x="107" y="5"/>
                          <a:pt x="107" y="6"/>
                        </a:cubicBezTo>
                        <a:cubicBezTo>
                          <a:pt x="107" y="7"/>
                          <a:pt x="107" y="7"/>
                          <a:pt x="107" y="7"/>
                        </a:cubicBezTo>
                        <a:cubicBezTo>
                          <a:pt x="106" y="7"/>
                          <a:pt x="106" y="7"/>
                          <a:pt x="106" y="7"/>
                        </a:cubicBezTo>
                        <a:cubicBezTo>
                          <a:pt x="104" y="7"/>
                          <a:pt x="102" y="6"/>
                          <a:pt x="102" y="7"/>
                        </a:cubicBezTo>
                        <a:cubicBezTo>
                          <a:pt x="101" y="8"/>
                          <a:pt x="102" y="9"/>
                          <a:pt x="103" y="9"/>
                        </a:cubicBezTo>
                        <a:cubicBezTo>
                          <a:pt x="103" y="10"/>
                          <a:pt x="102" y="11"/>
                          <a:pt x="103" y="11"/>
                        </a:cubicBezTo>
                        <a:cubicBezTo>
                          <a:pt x="104" y="13"/>
                          <a:pt x="104" y="13"/>
                          <a:pt x="104" y="13"/>
                        </a:cubicBezTo>
                        <a:cubicBezTo>
                          <a:pt x="104" y="13"/>
                          <a:pt x="105" y="13"/>
                          <a:pt x="105" y="13"/>
                        </a:cubicBezTo>
                        <a:cubicBezTo>
                          <a:pt x="105" y="14"/>
                          <a:pt x="105" y="14"/>
                          <a:pt x="105" y="14"/>
                        </a:cubicBezTo>
                        <a:cubicBezTo>
                          <a:pt x="106" y="17"/>
                          <a:pt x="108" y="16"/>
                          <a:pt x="110" y="18"/>
                        </a:cubicBezTo>
                        <a:cubicBezTo>
                          <a:pt x="111" y="19"/>
                          <a:pt x="110" y="21"/>
                          <a:pt x="110" y="23"/>
                        </a:cubicBezTo>
                        <a:cubicBezTo>
                          <a:pt x="110" y="24"/>
                          <a:pt x="111" y="31"/>
                          <a:pt x="109" y="31"/>
                        </a:cubicBezTo>
                        <a:cubicBezTo>
                          <a:pt x="108" y="30"/>
                          <a:pt x="109" y="28"/>
                          <a:pt x="107" y="27"/>
                        </a:cubicBezTo>
                        <a:cubicBezTo>
                          <a:pt x="106" y="27"/>
                          <a:pt x="104" y="27"/>
                          <a:pt x="104" y="26"/>
                        </a:cubicBezTo>
                        <a:cubicBezTo>
                          <a:pt x="103" y="25"/>
                          <a:pt x="102" y="25"/>
                          <a:pt x="101" y="26"/>
                        </a:cubicBezTo>
                        <a:cubicBezTo>
                          <a:pt x="101" y="27"/>
                          <a:pt x="101" y="28"/>
                          <a:pt x="102" y="29"/>
                        </a:cubicBezTo>
                        <a:cubicBezTo>
                          <a:pt x="102" y="30"/>
                          <a:pt x="102" y="31"/>
                          <a:pt x="102" y="32"/>
                        </a:cubicBezTo>
                        <a:cubicBezTo>
                          <a:pt x="101" y="32"/>
                          <a:pt x="99" y="33"/>
                          <a:pt x="98" y="33"/>
                        </a:cubicBezTo>
                        <a:cubicBezTo>
                          <a:pt x="97" y="34"/>
                          <a:pt x="97" y="36"/>
                          <a:pt x="95" y="35"/>
                        </a:cubicBezTo>
                        <a:cubicBezTo>
                          <a:pt x="95" y="36"/>
                          <a:pt x="95" y="36"/>
                          <a:pt x="95" y="36"/>
                        </a:cubicBezTo>
                        <a:cubicBezTo>
                          <a:pt x="97" y="36"/>
                          <a:pt x="98" y="37"/>
                          <a:pt x="98" y="39"/>
                        </a:cubicBezTo>
                        <a:cubicBezTo>
                          <a:pt x="98" y="41"/>
                          <a:pt x="97" y="41"/>
                          <a:pt x="95" y="42"/>
                        </a:cubicBezTo>
                        <a:cubicBezTo>
                          <a:pt x="94" y="43"/>
                          <a:pt x="94" y="45"/>
                          <a:pt x="92" y="43"/>
                        </a:cubicBezTo>
                        <a:cubicBezTo>
                          <a:pt x="91" y="42"/>
                          <a:pt x="91" y="41"/>
                          <a:pt x="91" y="40"/>
                        </a:cubicBezTo>
                        <a:cubicBezTo>
                          <a:pt x="90" y="37"/>
                          <a:pt x="88" y="38"/>
                          <a:pt x="88" y="40"/>
                        </a:cubicBezTo>
                        <a:cubicBezTo>
                          <a:pt x="87" y="43"/>
                          <a:pt x="82" y="40"/>
                          <a:pt x="81" y="39"/>
                        </a:cubicBezTo>
                        <a:cubicBezTo>
                          <a:pt x="80" y="41"/>
                          <a:pt x="80" y="44"/>
                          <a:pt x="80" y="46"/>
                        </a:cubicBezTo>
                        <a:cubicBezTo>
                          <a:pt x="79" y="47"/>
                          <a:pt x="79" y="48"/>
                          <a:pt x="79" y="49"/>
                        </a:cubicBezTo>
                        <a:cubicBezTo>
                          <a:pt x="78" y="50"/>
                          <a:pt x="78" y="54"/>
                          <a:pt x="80" y="54"/>
                        </a:cubicBezTo>
                        <a:cubicBezTo>
                          <a:pt x="80" y="54"/>
                          <a:pt x="79" y="55"/>
                          <a:pt x="79" y="56"/>
                        </a:cubicBezTo>
                        <a:cubicBezTo>
                          <a:pt x="78" y="56"/>
                          <a:pt x="77" y="56"/>
                          <a:pt x="76" y="56"/>
                        </a:cubicBezTo>
                        <a:cubicBezTo>
                          <a:pt x="75" y="57"/>
                          <a:pt x="76" y="58"/>
                          <a:pt x="75" y="58"/>
                        </a:cubicBezTo>
                        <a:cubicBezTo>
                          <a:pt x="75" y="58"/>
                          <a:pt x="74" y="58"/>
                          <a:pt x="74" y="57"/>
                        </a:cubicBezTo>
                        <a:cubicBezTo>
                          <a:pt x="74" y="58"/>
                          <a:pt x="73" y="58"/>
                          <a:pt x="73" y="59"/>
                        </a:cubicBezTo>
                        <a:cubicBezTo>
                          <a:pt x="72" y="60"/>
                          <a:pt x="73" y="61"/>
                          <a:pt x="70" y="60"/>
                        </a:cubicBezTo>
                        <a:cubicBezTo>
                          <a:pt x="69" y="60"/>
                          <a:pt x="67" y="60"/>
                          <a:pt x="65" y="60"/>
                        </a:cubicBezTo>
                        <a:cubicBezTo>
                          <a:pt x="65" y="55"/>
                          <a:pt x="56" y="54"/>
                          <a:pt x="56" y="58"/>
                        </a:cubicBezTo>
                        <a:cubicBezTo>
                          <a:pt x="53" y="59"/>
                          <a:pt x="51" y="58"/>
                          <a:pt x="48" y="57"/>
                        </a:cubicBezTo>
                        <a:cubicBezTo>
                          <a:pt x="45" y="55"/>
                          <a:pt x="44" y="58"/>
                          <a:pt x="42" y="60"/>
                        </a:cubicBezTo>
                        <a:cubicBezTo>
                          <a:pt x="41" y="62"/>
                          <a:pt x="38" y="63"/>
                          <a:pt x="38" y="66"/>
                        </a:cubicBezTo>
                        <a:cubicBezTo>
                          <a:pt x="38" y="68"/>
                          <a:pt x="38" y="69"/>
                          <a:pt x="35" y="69"/>
                        </a:cubicBezTo>
                        <a:cubicBezTo>
                          <a:pt x="35" y="67"/>
                          <a:pt x="34" y="66"/>
                          <a:pt x="33" y="65"/>
                        </a:cubicBezTo>
                        <a:cubicBezTo>
                          <a:pt x="33" y="64"/>
                          <a:pt x="31" y="63"/>
                          <a:pt x="31" y="63"/>
                        </a:cubicBezTo>
                        <a:cubicBezTo>
                          <a:pt x="31" y="60"/>
                          <a:pt x="34" y="59"/>
                          <a:pt x="34" y="57"/>
                        </a:cubicBezTo>
                        <a:cubicBezTo>
                          <a:pt x="35" y="56"/>
                          <a:pt x="35" y="54"/>
                          <a:pt x="34" y="54"/>
                        </a:cubicBezTo>
                        <a:cubicBezTo>
                          <a:pt x="32" y="54"/>
                          <a:pt x="33" y="55"/>
                          <a:pt x="33" y="55"/>
                        </a:cubicBezTo>
                        <a:cubicBezTo>
                          <a:pt x="29" y="59"/>
                          <a:pt x="30" y="50"/>
                          <a:pt x="30" y="50"/>
                        </a:cubicBezTo>
                        <a:cubicBezTo>
                          <a:pt x="28" y="47"/>
                          <a:pt x="28" y="54"/>
                          <a:pt x="24" y="48"/>
                        </a:cubicBezTo>
                        <a:cubicBezTo>
                          <a:pt x="22" y="45"/>
                          <a:pt x="16" y="45"/>
                          <a:pt x="12" y="45"/>
                        </a:cubicBezTo>
                        <a:cubicBezTo>
                          <a:pt x="12" y="46"/>
                          <a:pt x="11" y="46"/>
                          <a:pt x="10" y="47"/>
                        </a:cubicBezTo>
                        <a:cubicBezTo>
                          <a:pt x="7" y="48"/>
                          <a:pt x="5" y="45"/>
                          <a:pt x="1" y="45"/>
                        </a:cubicBezTo>
                        <a:cubicBezTo>
                          <a:pt x="0" y="44"/>
                          <a:pt x="0" y="44"/>
                          <a:pt x="0" y="44"/>
                        </a:cubicBezTo>
                        <a:cubicBezTo>
                          <a:pt x="0" y="45"/>
                          <a:pt x="0" y="45"/>
                          <a:pt x="1" y="46"/>
                        </a:cubicBezTo>
                        <a:cubicBezTo>
                          <a:pt x="1" y="47"/>
                          <a:pt x="1" y="49"/>
                          <a:pt x="2" y="50"/>
                        </a:cubicBezTo>
                        <a:cubicBezTo>
                          <a:pt x="3" y="50"/>
                          <a:pt x="5" y="50"/>
                          <a:pt x="5" y="50"/>
                        </a:cubicBezTo>
                        <a:cubicBezTo>
                          <a:pt x="6" y="51"/>
                          <a:pt x="6" y="53"/>
                          <a:pt x="5" y="53"/>
                        </a:cubicBezTo>
                        <a:cubicBezTo>
                          <a:pt x="2" y="53"/>
                          <a:pt x="2" y="57"/>
                          <a:pt x="3" y="59"/>
                        </a:cubicBezTo>
                        <a:cubicBezTo>
                          <a:pt x="4" y="60"/>
                          <a:pt x="5" y="60"/>
                          <a:pt x="6" y="60"/>
                        </a:cubicBezTo>
                        <a:cubicBezTo>
                          <a:pt x="7" y="62"/>
                          <a:pt x="7" y="64"/>
                          <a:pt x="5" y="66"/>
                        </a:cubicBezTo>
                        <a:cubicBezTo>
                          <a:pt x="4" y="68"/>
                          <a:pt x="5" y="71"/>
                          <a:pt x="5" y="73"/>
                        </a:cubicBezTo>
                        <a:cubicBezTo>
                          <a:pt x="4" y="73"/>
                          <a:pt x="2" y="73"/>
                          <a:pt x="1" y="73"/>
                        </a:cubicBezTo>
                        <a:cubicBezTo>
                          <a:pt x="1" y="75"/>
                          <a:pt x="3" y="76"/>
                          <a:pt x="4" y="76"/>
                        </a:cubicBezTo>
                        <a:cubicBezTo>
                          <a:pt x="4" y="77"/>
                          <a:pt x="5" y="77"/>
                          <a:pt x="5" y="78"/>
                        </a:cubicBezTo>
                        <a:cubicBezTo>
                          <a:pt x="8" y="77"/>
                          <a:pt x="10" y="78"/>
                          <a:pt x="13" y="79"/>
                        </a:cubicBezTo>
                        <a:cubicBezTo>
                          <a:pt x="14" y="74"/>
                          <a:pt x="19" y="78"/>
                          <a:pt x="22" y="79"/>
                        </a:cubicBezTo>
                        <a:cubicBezTo>
                          <a:pt x="22" y="80"/>
                          <a:pt x="22" y="81"/>
                          <a:pt x="22" y="82"/>
                        </a:cubicBezTo>
                        <a:cubicBezTo>
                          <a:pt x="23" y="82"/>
                          <a:pt x="23" y="83"/>
                          <a:pt x="24" y="82"/>
                        </a:cubicBezTo>
                        <a:cubicBezTo>
                          <a:pt x="25" y="88"/>
                          <a:pt x="34" y="83"/>
                          <a:pt x="37" y="83"/>
                        </a:cubicBezTo>
                        <a:cubicBezTo>
                          <a:pt x="37" y="84"/>
                          <a:pt x="37" y="84"/>
                          <a:pt x="37" y="85"/>
                        </a:cubicBezTo>
                        <a:cubicBezTo>
                          <a:pt x="41" y="85"/>
                          <a:pt x="41" y="88"/>
                          <a:pt x="41" y="91"/>
                        </a:cubicBezTo>
                        <a:cubicBezTo>
                          <a:pt x="41" y="92"/>
                          <a:pt x="40" y="94"/>
                          <a:pt x="41" y="95"/>
                        </a:cubicBezTo>
                        <a:cubicBezTo>
                          <a:pt x="41" y="95"/>
                          <a:pt x="44" y="97"/>
                          <a:pt x="44" y="96"/>
                        </a:cubicBezTo>
                        <a:cubicBezTo>
                          <a:pt x="43" y="102"/>
                          <a:pt x="42" y="109"/>
                          <a:pt x="45" y="115"/>
                        </a:cubicBezTo>
                        <a:cubicBezTo>
                          <a:pt x="46" y="117"/>
                          <a:pt x="47" y="119"/>
                          <a:pt x="47" y="121"/>
                        </a:cubicBezTo>
                        <a:cubicBezTo>
                          <a:pt x="48" y="124"/>
                          <a:pt x="52" y="123"/>
                          <a:pt x="54" y="123"/>
                        </a:cubicBezTo>
                        <a:cubicBezTo>
                          <a:pt x="54" y="126"/>
                          <a:pt x="55" y="128"/>
                          <a:pt x="58" y="129"/>
                        </a:cubicBezTo>
                        <a:cubicBezTo>
                          <a:pt x="61" y="131"/>
                          <a:pt x="64" y="134"/>
                          <a:pt x="65" y="138"/>
                        </a:cubicBezTo>
                        <a:cubicBezTo>
                          <a:pt x="67" y="142"/>
                          <a:pt x="56" y="154"/>
                          <a:pt x="66" y="156"/>
                        </a:cubicBezTo>
                        <a:cubicBezTo>
                          <a:pt x="67" y="156"/>
                          <a:pt x="68" y="155"/>
                          <a:pt x="68" y="155"/>
                        </a:cubicBezTo>
                        <a:cubicBezTo>
                          <a:pt x="70" y="155"/>
                          <a:pt x="71" y="156"/>
                          <a:pt x="72" y="156"/>
                        </a:cubicBezTo>
                        <a:cubicBezTo>
                          <a:pt x="72" y="154"/>
                          <a:pt x="71" y="151"/>
                          <a:pt x="71" y="149"/>
                        </a:cubicBezTo>
                        <a:cubicBezTo>
                          <a:pt x="72" y="146"/>
                          <a:pt x="77" y="148"/>
                          <a:pt x="79" y="148"/>
                        </a:cubicBezTo>
                        <a:cubicBezTo>
                          <a:pt x="78" y="146"/>
                          <a:pt x="77" y="144"/>
                          <a:pt x="78" y="142"/>
                        </a:cubicBezTo>
                        <a:cubicBezTo>
                          <a:pt x="78" y="142"/>
                          <a:pt x="79" y="142"/>
                          <a:pt x="79" y="142"/>
                        </a:cubicBezTo>
                        <a:cubicBezTo>
                          <a:pt x="77" y="142"/>
                          <a:pt x="76" y="141"/>
                          <a:pt x="76" y="140"/>
                        </a:cubicBezTo>
                        <a:cubicBezTo>
                          <a:pt x="85" y="138"/>
                          <a:pt x="86" y="149"/>
                          <a:pt x="93" y="148"/>
                        </a:cubicBezTo>
                        <a:cubicBezTo>
                          <a:pt x="94" y="147"/>
                          <a:pt x="93" y="145"/>
                          <a:pt x="94" y="144"/>
                        </a:cubicBezTo>
                        <a:cubicBezTo>
                          <a:pt x="95" y="143"/>
                          <a:pt x="98" y="144"/>
                          <a:pt x="99" y="144"/>
                        </a:cubicBezTo>
                        <a:cubicBezTo>
                          <a:pt x="99" y="142"/>
                          <a:pt x="100" y="141"/>
                          <a:pt x="100" y="140"/>
                        </a:cubicBezTo>
                        <a:cubicBezTo>
                          <a:pt x="102" y="138"/>
                          <a:pt x="104" y="143"/>
                          <a:pt x="107" y="144"/>
                        </a:cubicBezTo>
                        <a:cubicBezTo>
                          <a:pt x="107" y="145"/>
                          <a:pt x="107" y="145"/>
                          <a:pt x="107" y="145"/>
                        </a:cubicBezTo>
                        <a:cubicBezTo>
                          <a:pt x="103" y="146"/>
                          <a:pt x="104" y="154"/>
                          <a:pt x="104" y="157"/>
                        </a:cubicBezTo>
                        <a:cubicBezTo>
                          <a:pt x="103" y="159"/>
                          <a:pt x="101" y="168"/>
                          <a:pt x="106" y="166"/>
                        </a:cubicBezTo>
                        <a:cubicBezTo>
                          <a:pt x="106" y="163"/>
                          <a:pt x="108" y="163"/>
                          <a:pt x="111" y="163"/>
                        </a:cubicBezTo>
                        <a:cubicBezTo>
                          <a:pt x="111" y="162"/>
                          <a:pt x="111" y="161"/>
                          <a:pt x="110" y="160"/>
                        </a:cubicBezTo>
                        <a:cubicBezTo>
                          <a:pt x="113" y="161"/>
                          <a:pt x="118" y="161"/>
                          <a:pt x="120" y="159"/>
                        </a:cubicBezTo>
                        <a:cubicBezTo>
                          <a:pt x="122" y="158"/>
                          <a:pt x="123" y="156"/>
                          <a:pt x="125" y="155"/>
                        </a:cubicBezTo>
                        <a:cubicBezTo>
                          <a:pt x="125" y="155"/>
                          <a:pt x="125" y="155"/>
                          <a:pt x="125" y="155"/>
                        </a:cubicBezTo>
                        <a:cubicBezTo>
                          <a:pt x="126" y="155"/>
                          <a:pt x="126" y="155"/>
                          <a:pt x="126" y="155"/>
                        </a:cubicBezTo>
                        <a:cubicBezTo>
                          <a:pt x="126" y="155"/>
                          <a:pt x="126" y="155"/>
                          <a:pt x="126" y="155"/>
                        </a:cubicBezTo>
                        <a:cubicBezTo>
                          <a:pt x="127" y="154"/>
                          <a:pt x="129" y="155"/>
                          <a:pt x="131" y="154"/>
                        </a:cubicBezTo>
                        <a:cubicBezTo>
                          <a:pt x="132" y="154"/>
                          <a:pt x="132" y="154"/>
                          <a:pt x="132" y="154"/>
                        </a:cubicBezTo>
                        <a:cubicBezTo>
                          <a:pt x="132" y="154"/>
                          <a:pt x="132" y="154"/>
                          <a:pt x="132" y="154"/>
                        </a:cubicBezTo>
                        <a:cubicBezTo>
                          <a:pt x="132" y="153"/>
                          <a:pt x="132" y="153"/>
                          <a:pt x="132" y="152"/>
                        </a:cubicBezTo>
                        <a:cubicBezTo>
                          <a:pt x="132" y="151"/>
                          <a:pt x="132" y="151"/>
                          <a:pt x="132" y="151"/>
                        </a:cubicBezTo>
                        <a:cubicBezTo>
                          <a:pt x="131" y="151"/>
                          <a:pt x="131" y="150"/>
                          <a:pt x="131" y="149"/>
                        </a:cubicBezTo>
                        <a:cubicBezTo>
                          <a:pt x="131" y="148"/>
                          <a:pt x="131" y="148"/>
                          <a:pt x="131" y="148"/>
                        </a:cubicBezTo>
                        <a:cubicBezTo>
                          <a:pt x="131" y="145"/>
                          <a:pt x="131" y="143"/>
                          <a:pt x="129" y="140"/>
                        </a:cubicBezTo>
                        <a:cubicBezTo>
                          <a:pt x="129" y="139"/>
                          <a:pt x="129" y="139"/>
                          <a:pt x="129" y="139"/>
                        </a:cubicBezTo>
                        <a:cubicBezTo>
                          <a:pt x="129" y="139"/>
                          <a:pt x="129" y="139"/>
                          <a:pt x="129" y="139"/>
                        </a:cubicBezTo>
                        <a:cubicBezTo>
                          <a:pt x="128" y="136"/>
                          <a:pt x="126" y="134"/>
                          <a:pt x="124" y="131"/>
                        </a:cubicBezTo>
                        <a:cubicBezTo>
                          <a:pt x="122" y="129"/>
                          <a:pt x="123" y="127"/>
                          <a:pt x="122" y="125"/>
                        </a:cubicBezTo>
                        <a:cubicBezTo>
                          <a:pt x="122" y="124"/>
                          <a:pt x="121" y="124"/>
                          <a:pt x="121" y="123"/>
                        </a:cubicBezTo>
                        <a:cubicBezTo>
                          <a:pt x="120" y="123"/>
                          <a:pt x="120" y="123"/>
                          <a:pt x="120" y="123"/>
                        </a:cubicBezTo>
                        <a:cubicBezTo>
                          <a:pt x="120" y="123"/>
                          <a:pt x="119" y="123"/>
                          <a:pt x="118" y="123"/>
                        </a:cubicBezTo>
                        <a:cubicBezTo>
                          <a:pt x="117" y="124"/>
                          <a:pt x="119" y="124"/>
                          <a:pt x="118" y="125"/>
                        </a:cubicBezTo>
                        <a:cubicBezTo>
                          <a:pt x="118" y="126"/>
                          <a:pt x="116" y="127"/>
                          <a:pt x="115" y="126"/>
                        </a:cubicBezTo>
                        <a:cubicBezTo>
                          <a:pt x="115" y="126"/>
                          <a:pt x="115" y="126"/>
                          <a:pt x="115" y="126"/>
                        </a:cubicBezTo>
                        <a:cubicBezTo>
                          <a:pt x="115" y="125"/>
                          <a:pt x="115" y="125"/>
                          <a:pt x="115" y="125"/>
                        </a:cubicBezTo>
                        <a:cubicBezTo>
                          <a:pt x="115" y="125"/>
                          <a:pt x="114" y="125"/>
                          <a:pt x="114" y="124"/>
                        </a:cubicBezTo>
                        <a:cubicBezTo>
                          <a:pt x="114" y="124"/>
                          <a:pt x="114" y="124"/>
                          <a:pt x="114" y="123"/>
                        </a:cubicBezTo>
                        <a:cubicBezTo>
                          <a:pt x="114" y="123"/>
                          <a:pt x="114" y="123"/>
                          <a:pt x="114" y="123"/>
                        </a:cubicBezTo>
                        <a:cubicBezTo>
                          <a:pt x="113" y="122"/>
                          <a:pt x="113" y="122"/>
                          <a:pt x="113" y="122"/>
                        </a:cubicBezTo>
                        <a:cubicBezTo>
                          <a:pt x="113" y="122"/>
                          <a:pt x="113" y="122"/>
                          <a:pt x="113" y="122"/>
                        </a:cubicBezTo>
                        <a:cubicBezTo>
                          <a:pt x="112" y="122"/>
                          <a:pt x="112" y="122"/>
                          <a:pt x="112" y="122"/>
                        </a:cubicBezTo>
                        <a:cubicBezTo>
                          <a:pt x="111" y="122"/>
                          <a:pt x="111" y="121"/>
                          <a:pt x="111" y="121"/>
                        </a:cubicBezTo>
                        <a:cubicBezTo>
                          <a:pt x="110" y="121"/>
                          <a:pt x="109" y="121"/>
                          <a:pt x="110" y="121"/>
                        </a:cubicBezTo>
                        <a:cubicBezTo>
                          <a:pt x="111" y="121"/>
                          <a:pt x="110" y="122"/>
                          <a:pt x="110" y="122"/>
                        </a:cubicBezTo>
                        <a:cubicBezTo>
                          <a:pt x="109" y="122"/>
                          <a:pt x="109" y="122"/>
                          <a:pt x="109" y="122"/>
                        </a:cubicBezTo>
                        <a:cubicBezTo>
                          <a:pt x="108" y="122"/>
                          <a:pt x="108" y="122"/>
                          <a:pt x="107" y="122"/>
                        </a:cubicBezTo>
                        <a:cubicBezTo>
                          <a:pt x="107" y="122"/>
                          <a:pt x="106" y="122"/>
                          <a:pt x="106" y="122"/>
                        </a:cubicBezTo>
                        <a:cubicBezTo>
                          <a:pt x="105" y="123"/>
                          <a:pt x="106" y="122"/>
                          <a:pt x="106" y="121"/>
                        </a:cubicBezTo>
                        <a:cubicBezTo>
                          <a:pt x="105" y="120"/>
                          <a:pt x="105" y="120"/>
                          <a:pt x="105" y="120"/>
                        </a:cubicBezTo>
                        <a:cubicBezTo>
                          <a:pt x="104" y="120"/>
                          <a:pt x="104" y="120"/>
                          <a:pt x="104" y="119"/>
                        </a:cubicBezTo>
                        <a:cubicBezTo>
                          <a:pt x="104" y="118"/>
                          <a:pt x="105" y="119"/>
                          <a:pt x="105" y="118"/>
                        </a:cubicBezTo>
                        <a:cubicBezTo>
                          <a:pt x="105" y="118"/>
                          <a:pt x="105" y="117"/>
                          <a:pt x="106" y="117"/>
                        </a:cubicBezTo>
                        <a:cubicBezTo>
                          <a:pt x="107" y="117"/>
                          <a:pt x="107" y="117"/>
                          <a:pt x="107" y="117"/>
                        </a:cubicBezTo>
                        <a:cubicBezTo>
                          <a:pt x="107" y="117"/>
                          <a:pt x="107" y="116"/>
                          <a:pt x="107" y="116"/>
                        </a:cubicBezTo>
                        <a:cubicBezTo>
                          <a:pt x="107" y="115"/>
                          <a:pt x="108" y="116"/>
                          <a:pt x="108" y="115"/>
                        </a:cubicBezTo>
                        <a:cubicBezTo>
                          <a:pt x="108" y="115"/>
                          <a:pt x="108" y="115"/>
                          <a:pt x="108" y="115"/>
                        </a:cubicBezTo>
                        <a:cubicBezTo>
                          <a:pt x="109" y="114"/>
                          <a:pt x="108" y="114"/>
                          <a:pt x="108" y="114"/>
                        </a:cubicBezTo>
                        <a:cubicBezTo>
                          <a:pt x="108" y="114"/>
                          <a:pt x="109" y="113"/>
                          <a:pt x="108" y="112"/>
                        </a:cubicBezTo>
                        <a:cubicBezTo>
                          <a:pt x="108" y="110"/>
                          <a:pt x="108" y="110"/>
                          <a:pt x="108" y="110"/>
                        </a:cubicBezTo>
                        <a:cubicBezTo>
                          <a:pt x="108" y="109"/>
                          <a:pt x="109" y="109"/>
                          <a:pt x="109" y="109"/>
                        </a:cubicBezTo>
                        <a:cubicBezTo>
                          <a:pt x="110" y="109"/>
                          <a:pt x="111" y="109"/>
                          <a:pt x="111" y="109"/>
                        </a:cubicBezTo>
                        <a:cubicBezTo>
                          <a:pt x="111" y="109"/>
                          <a:pt x="112" y="108"/>
                          <a:pt x="112" y="108"/>
                        </a:cubicBezTo>
                        <a:cubicBezTo>
                          <a:pt x="113" y="107"/>
                          <a:pt x="114" y="108"/>
                          <a:pt x="114" y="108"/>
                        </a:cubicBezTo>
                        <a:cubicBezTo>
                          <a:pt x="114" y="108"/>
                          <a:pt x="114" y="108"/>
                          <a:pt x="114" y="108"/>
                        </a:cubicBezTo>
                        <a:cubicBezTo>
                          <a:pt x="115" y="109"/>
                          <a:pt x="115" y="109"/>
                          <a:pt x="115" y="109"/>
                        </a:cubicBezTo>
                        <a:cubicBezTo>
                          <a:pt x="115" y="102"/>
                          <a:pt x="115" y="102"/>
                          <a:pt x="115" y="102"/>
                        </a:cubicBezTo>
                        <a:cubicBezTo>
                          <a:pt x="115" y="97"/>
                          <a:pt x="115" y="92"/>
                          <a:pt x="113" y="87"/>
                        </a:cubicBezTo>
                        <a:cubicBezTo>
                          <a:pt x="112" y="82"/>
                          <a:pt x="114" y="75"/>
                          <a:pt x="115" y="70"/>
                        </a:cubicBezTo>
                        <a:cubicBezTo>
                          <a:pt x="116" y="70"/>
                          <a:pt x="116" y="70"/>
                          <a:pt x="116" y="70"/>
                        </a:cubicBezTo>
                        <a:cubicBezTo>
                          <a:pt x="117" y="68"/>
                          <a:pt x="117" y="67"/>
                          <a:pt x="118" y="65"/>
                        </a:cubicBezTo>
                        <a:cubicBezTo>
                          <a:pt x="119" y="64"/>
                          <a:pt x="120" y="63"/>
                          <a:pt x="120" y="61"/>
                        </a:cubicBezTo>
                        <a:cubicBezTo>
                          <a:pt x="121" y="59"/>
                          <a:pt x="120" y="55"/>
                          <a:pt x="124" y="55"/>
                        </a:cubicBezTo>
                        <a:cubicBezTo>
                          <a:pt x="124" y="54"/>
                          <a:pt x="125" y="54"/>
                          <a:pt x="126" y="52"/>
                        </a:cubicBezTo>
                        <a:cubicBezTo>
                          <a:pt x="126" y="50"/>
                          <a:pt x="128" y="51"/>
                          <a:pt x="130" y="50"/>
                        </a:cubicBezTo>
                        <a:cubicBezTo>
                          <a:pt x="130" y="45"/>
                          <a:pt x="136" y="42"/>
                          <a:pt x="138" y="38"/>
                        </a:cubicBezTo>
                        <a:cubicBezTo>
                          <a:pt x="139" y="37"/>
                          <a:pt x="139" y="36"/>
                          <a:pt x="139" y="35"/>
                        </a:cubicBezTo>
                        <a:cubicBezTo>
                          <a:pt x="140" y="35"/>
                          <a:pt x="140" y="35"/>
                          <a:pt x="140" y="35"/>
                        </a:cubicBezTo>
                        <a:cubicBezTo>
                          <a:pt x="139" y="34"/>
                          <a:pt x="139" y="33"/>
                          <a:pt x="139" y="33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25" name="Rectangle 444">
                    <a:extLst>
                      <a:ext uri="{FF2B5EF4-FFF2-40B4-BE49-F238E27FC236}">
                        <a16:creationId xmlns:a16="http://schemas.microsoft.com/office/drawing/2014/main" xmlns="" id="{02F77015-B8DE-4B0F-9417-151CEB4BB78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703638" y="2224088"/>
                    <a:ext cx="1588" cy="1588"/>
                  </a:xfrm>
                  <a:prstGeom prst="rect">
                    <a:avLst/>
                  </a:pr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26" name="Freeform 445">
                    <a:extLst>
                      <a:ext uri="{FF2B5EF4-FFF2-40B4-BE49-F238E27FC236}">
                        <a16:creationId xmlns:a16="http://schemas.microsoft.com/office/drawing/2014/main" xmlns="" id="{7793D31D-55C6-46F9-AC62-9FE48ECF606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29038" y="2347913"/>
                    <a:ext cx="1195388" cy="1092200"/>
                  </a:xfrm>
                  <a:custGeom>
                    <a:avLst/>
                    <a:gdLst>
                      <a:gd name="T0" fmla="*/ 317 w 338"/>
                      <a:gd name="T1" fmla="*/ 205 h 309"/>
                      <a:gd name="T2" fmla="*/ 325 w 338"/>
                      <a:gd name="T3" fmla="*/ 189 h 309"/>
                      <a:gd name="T4" fmla="*/ 311 w 338"/>
                      <a:gd name="T5" fmla="*/ 168 h 309"/>
                      <a:gd name="T6" fmla="*/ 280 w 338"/>
                      <a:gd name="T7" fmla="*/ 151 h 309"/>
                      <a:gd name="T8" fmla="*/ 252 w 338"/>
                      <a:gd name="T9" fmla="*/ 139 h 309"/>
                      <a:gd name="T10" fmla="*/ 217 w 338"/>
                      <a:gd name="T11" fmla="*/ 125 h 309"/>
                      <a:gd name="T12" fmla="*/ 189 w 338"/>
                      <a:gd name="T13" fmla="*/ 112 h 309"/>
                      <a:gd name="T14" fmla="*/ 173 w 338"/>
                      <a:gd name="T15" fmla="*/ 97 h 309"/>
                      <a:gd name="T16" fmla="*/ 148 w 338"/>
                      <a:gd name="T17" fmla="*/ 87 h 309"/>
                      <a:gd name="T18" fmla="*/ 129 w 338"/>
                      <a:gd name="T19" fmla="*/ 82 h 309"/>
                      <a:gd name="T20" fmla="*/ 95 w 338"/>
                      <a:gd name="T21" fmla="*/ 69 h 309"/>
                      <a:gd name="T22" fmla="*/ 78 w 338"/>
                      <a:gd name="T23" fmla="*/ 46 h 309"/>
                      <a:gd name="T24" fmla="*/ 42 w 338"/>
                      <a:gd name="T25" fmla="*/ 37 h 309"/>
                      <a:gd name="T26" fmla="*/ 43 w 338"/>
                      <a:gd name="T27" fmla="*/ 8 h 309"/>
                      <a:gd name="T28" fmla="*/ 14 w 338"/>
                      <a:gd name="T29" fmla="*/ 17 h 309"/>
                      <a:gd name="T30" fmla="*/ 1 w 338"/>
                      <a:gd name="T31" fmla="*/ 52 h 309"/>
                      <a:gd name="T32" fmla="*/ 5 w 338"/>
                      <a:gd name="T33" fmla="*/ 76 h 309"/>
                      <a:gd name="T34" fmla="*/ 8 w 338"/>
                      <a:gd name="T35" fmla="*/ 79 h 309"/>
                      <a:gd name="T36" fmla="*/ 9 w 338"/>
                      <a:gd name="T37" fmla="*/ 88 h 309"/>
                      <a:gd name="T38" fmla="*/ 17 w 338"/>
                      <a:gd name="T39" fmla="*/ 105 h 309"/>
                      <a:gd name="T40" fmla="*/ 20 w 338"/>
                      <a:gd name="T41" fmla="*/ 119 h 309"/>
                      <a:gd name="T42" fmla="*/ 19 w 338"/>
                      <a:gd name="T43" fmla="*/ 119 h 309"/>
                      <a:gd name="T44" fmla="*/ 19 w 338"/>
                      <a:gd name="T45" fmla="*/ 119 h 309"/>
                      <a:gd name="T46" fmla="*/ 19 w 338"/>
                      <a:gd name="T47" fmla="*/ 119 h 309"/>
                      <a:gd name="T48" fmla="*/ 14 w 338"/>
                      <a:gd name="T49" fmla="*/ 120 h 309"/>
                      <a:gd name="T50" fmla="*/ 13 w 338"/>
                      <a:gd name="T51" fmla="*/ 120 h 309"/>
                      <a:gd name="T52" fmla="*/ 13 w 338"/>
                      <a:gd name="T53" fmla="*/ 120 h 309"/>
                      <a:gd name="T54" fmla="*/ 14 w 338"/>
                      <a:gd name="T55" fmla="*/ 142 h 309"/>
                      <a:gd name="T56" fmla="*/ 20 w 338"/>
                      <a:gd name="T57" fmla="*/ 161 h 309"/>
                      <a:gd name="T58" fmla="*/ 26 w 338"/>
                      <a:gd name="T59" fmla="*/ 171 h 309"/>
                      <a:gd name="T60" fmla="*/ 45 w 338"/>
                      <a:gd name="T61" fmla="*/ 167 h 309"/>
                      <a:gd name="T62" fmla="*/ 71 w 338"/>
                      <a:gd name="T63" fmla="*/ 174 h 309"/>
                      <a:gd name="T64" fmla="*/ 87 w 338"/>
                      <a:gd name="T65" fmla="*/ 199 h 309"/>
                      <a:gd name="T66" fmla="*/ 72 w 338"/>
                      <a:gd name="T67" fmla="*/ 224 h 309"/>
                      <a:gd name="T68" fmla="*/ 51 w 338"/>
                      <a:gd name="T69" fmla="*/ 238 h 309"/>
                      <a:gd name="T70" fmla="*/ 42 w 338"/>
                      <a:gd name="T71" fmla="*/ 265 h 309"/>
                      <a:gd name="T72" fmla="*/ 62 w 338"/>
                      <a:gd name="T73" fmla="*/ 292 h 309"/>
                      <a:gd name="T74" fmla="*/ 76 w 338"/>
                      <a:gd name="T75" fmla="*/ 286 h 309"/>
                      <a:gd name="T76" fmla="*/ 66 w 338"/>
                      <a:gd name="T77" fmla="*/ 265 h 309"/>
                      <a:gd name="T78" fmla="*/ 71 w 338"/>
                      <a:gd name="T79" fmla="*/ 240 h 309"/>
                      <a:gd name="T80" fmla="*/ 74 w 338"/>
                      <a:gd name="T81" fmla="*/ 247 h 309"/>
                      <a:gd name="T82" fmla="*/ 79 w 338"/>
                      <a:gd name="T83" fmla="*/ 250 h 309"/>
                      <a:gd name="T84" fmla="*/ 95 w 338"/>
                      <a:gd name="T85" fmla="*/ 252 h 309"/>
                      <a:gd name="T86" fmla="*/ 106 w 338"/>
                      <a:gd name="T87" fmla="*/ 256 h 309"/>
                      <a:gd name="T88" fmla="*/ 140 w 338"/>
                      <a:gd name="T89" fmla="*/ 243 h 309"/>
                      <a:gd name="T90" fmla="*/ 142 w 338"/>
                      <a:gd name="T91" fmla="*/ 261 h 309"/>
                      <a:gd name="T92" fmla="*/ 153 w 338"/>
                      <a:gd name="T93" fmla="*/ 259 h 309"/>
                      <a:gd name="T94" fmla="*/ 164 w 338"/>
                      <a:gd name="T95" fmla="*/ 257 h 309"/>
                      <a:gd name="T96" fmla="*/ 164 w 338"/>
                      <a:gd name="T97" fmla="*/ 268 h 309"/>
                      <a:gd name="T98" fmla="*/ 191 w 338"/>
                      <a:gd name="T99" fmla="*/ 257 h 309"/>
                      <a:gd name="T100" fmla="*/ 206 w 338"/>
                      <a:gd name="T101" fmla="*/ 263 h 309"/>
                      <a:gd name="T102" fmla="*/ 229 w 338"/>
                      <a:gd name="T103" fmla="*/ 281 h 309"/>
                      <a:gd name="T104" fmla="*/ 252 w 338"/>
                      <a:gd name="T105" fmla="*/ 282 h 309"/>
                      <a:gd name="T106" fmla="*/ 252 w 338"/>
                      <a:gd name="T107" fmla="*/ 296 h 309"/>
                      <a:gd name="T108" fmla="*/ 283 w 338"/>
                      <a:gd name="T109" fmla="*/ 297 h 309"/>
                      <a:gd name="T110" fmla="*/ 280 w 338"/>
                      <a:gd name="T111" fmla="*/ 259 h 309"/>
                      <a:gd name="T112" fmla="*/ 313 w 338"/>
                      <a:gd name="T113" fmla="*/ 233 h 30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338" h="309">
                        <a:moveTo>
                          <a:pt x="333" y="226"/>
                        </a:moveTo>
                        <a:cubicBezTo>
                          <a:pt x="328" y="225"/>
                          <a:pt x="325" y="222"/>
                          <a:pt x="321" y="220"/>
                        </a:cubicBezTo>
                        <a:cubicBezTo>
                          <a:pt x="319" y="219"/>
                          <a:pt x="318" y="219"/>
                          <a:pt x="317" y="218"/>
                        </a:cubicBezTo>
                        <a:cubicBezTo>
                          <a:pt x="316" y="217"/>
                          <a:pt x="316" y="216"/>
                          <a:pt x="316" y="214"/>
                        </a:cubicBezTo>
                        <a:cubicBezTo>
                          <a:pt x="314" y="211"/>
                          <a:pt x="311" y="210"/>
                          <a:pt x="309" y="207"/>
                        </a:cubicBezTo>
                        <a:cubicBezTo>
                          <a:pt x="312" y="207"/>
                          <a:pt x="315" y="206"/>
                          <a:pt x="317" y="205"/>
                        </a:cubicBezTo>
                        <a:cubicBezTo>
                          <a:pt x="318" y="204"/>
                          <a:pt x="317" y="202"/>
                          <a:pt x="317" y="200"/>
                        </a:cubicBezTo>
                        <a:cubicBezTo>
                          <a:pt x="316" y="199"/>
                          <a:pt x="315" y="199"/>
                          <a:pt x="313" y="199"/>
                        </a:cubicBezTo>
                        <a:cubicBezTo>
                          <a:pt x="311" y="198"/>
                          <a:pt x="309" y="197"/>
                          <a:pt x="307" y="197"/>
                        </a:cubicBezTo>
                        <a:cubicBezTo>
                          <a:pt x="305" y="194"/>
                          <a:pt x="306" y="192"/>
                          <a:pt x="309" y="192"/>
                        </a:cubicBezTo>
                        <a:cubicBezTo>
                          <a:pt x="313" y="191"/>
                          <a:pt x="311" y="190"/>
                          <a:pt x="314" y="189"/>
                        </a:cubicBezTo>
                        <a:cubicBezTo>
                          <a:pt x="318" y="188"/>
                          <a:pt x="322" y="189"/>
                          <a:pt x="325" y="189"/>
                        </a:cubicBezTo>
                        <a:cubicBezTo>
                          <a:pt x="327" y="189"/>
                          <a:pt x="328" y="188"/>
                          <a:pt x="327" y="186"/>
                        </a:cubicBezTo>
                        <a:cubicBezTo>
                          <a:pt x="326" y="185"/>
                          <a:pt x="324" y="185"/>
                          <a:pt x="323" y="185"/>
                        </a:cubicBezTo>
                        <a:cubicBezTo>
                          <a:pt x="323" y="184"/>
                          <a:pt x="322" y="183"/>
                          <a:pt x="321" y="183"/>
                        </a:cubicBezTo>
                        <a:cubicBezTo>
                          <a:pt x="320" y="181"/>
                          <a:pt x="320" y="179"/>
                          <a:pt x="320" y="177"/>
                        </a:cubicBezTo>
                        <a:cubicBezTo>
                          <a:pt x="318" y="177"/>
                          <a:pt x="315" y="178"/>
                          <a:pt x="312" y="176"/>
                        </a:cubicBezTo>
                        <a:cubicBezTo>
                          <a:pt x="310" y="174"/>
                          <a:pt x="312" y="171"/>
                          <a:pt x="311" y="168"/>
                        </a:cubicBezTo>
                        <a:cubicBezTo>
                          <a:pt x="310" y="165"/>
                          <a:pt x="306" y="166"/>
                          <a:pt x="307" y="163"/>
                        </a:cubicBezTo>
                        <a:cubicBezTo>
                          <a:pt x="308" y="160"/>
                          <a:pt x="304" y="158"/>
                          <a:pt x="305" y="155"/>
                        </a:cubicBezTo>
                        <a:cubicBezTo>
                          <a:pt x="302" y="155"/>
                          <a:pt x="301" y="153"/>
                          <a:pt x="301" y="152"/>
                        </a:cubicBezTo>
                        <a:cubicBezTo>
                          <a:pt x="298" y="152"/>
                          <a:pt x="296" y="150"/>
                          <a:pt x="294" y="149"/>
                        </a:cubicBezTo>
                        <a:cubicBezTo>
                          <a:pt x="290" y="147"/>
                          <a:pt x="286" y="147"/>
                          <a:pt x="282" y="148"/>
                        </a:cubicBezTo>
                        <a:cubicBezTo>
                          <a:pt x="282" y="149"/>
                          <a:pt x="281" y="150"/>
                          <a:pt x="280" y="151"/>
                        </a:cubicBezTo>
                        <a:cubicBezTo>
                          <a:pt x="280" y="152"/>
                          <a:pt x="277" y="152"/>
                          <a:pt x="277" y="153"/>
                        </a:cubicBezTo>
                        <a:cubicBezTo>
                          <a:pt x="274" y="154"/>
                          <a:pt x="274" y="151"/>
                          <a:pt x="273" y="150"/>
                        </a:cubicBezTo>
                        <a:cubicBezTo>
                          <a:pt x="273" y="149"/>
                          <a:pt x="272" y="147"/>
                          <a:pt x="270" y="147"/>
                        </a:cubicBezTo>
                        <a:cubicBezTo>
                          <a:pt x="267" y="146"/>
                          <a:pt x="264" y="147"/>
                          <a:pt x="261" y="147"/>
                        </a:cubicBezTo>
                        <a:cubicBezTo>
                          <a:pt x="260" y="144"/>
                          <a:pt x="254" y="145"/>
                          <a:pt x="252" y="145"/>
                        </a:cubicBezTo>
                        <a:cubicBezTo>
                          <a:pt x="252" y="143"/>
                          <a:pt x="252" y="141"/>
                          <a:pt x="252" y="139"/>
                        </a:cubicBezTo>
                        <a:cubicBezTo>
                          <a:pt x="252" y="138"/>
                          <a:pt x="250" y="136"/>
                          <a:pt x="250" y="134"/>
                        </a:cubicBezTo>
                        <a:cubicBezTo>
                          <a:pt x="246" y="134"/>
                          <a:pt x="242" y="136"/>
                          <a:pt x="238" y="136"/>
                        </a:cubicBezTo>
                        <a:cubicBezTo>
                          <a:pt x="236" y="135"/>
                          <a:pt x="236" y="134"/>
                          <a:pt x="235" y="132"/>
                        </a:cubicBezTo>
                        <a:cubicBezTo>
                          <a:pt x="233" y="131"/>
                          <a:pt x="232" y="131"/>
                          <a:pt x="230" y="130"/>
                        </a:cubicBezTo>
                        <a:cubicBezTo>
                          <a:pt x="227" y="129"/>
                          <a:pt x="224" y="127"/>
                          <a:pt x="221" y="125"/>
                        </a:cubicBezTo>
                        <a:cubicBezTo>
                          <a:pt x="219" y="124"/>
                          <a:pt x="219" y="124"/>
                          <a:pt x="217" y="125"/>
                        </a:cubicBezTo>
                        <a:cubicBezTo>
                          <a:pt x="216" y="126"/>
                          <a:pt x="215" y="128"/>
                          <a:pt x="213" y="127"/>
                        </a:cubicBezTo>
                        <a:cubicBezTo>
                          <a:pt x="212" y="125"/>
                          <a:pt x="209" y="124"/>
                          <a:pt x="207" y="123"/>
                        </a:cubicBezTo>
                        <a:cubicBezTo>
                          <a:pt x="205" y="122"/>
                          <a:pt x="203" y="122"/>
                          <a:pt x="201" y="121"/>
                        </a:cubicBezTo>
                        <a:cubicBezTo>
                          <a:pt x="201" y="120"/>
                          <a:pt x="201" y="119"/>
                          <a:pt x="201" y="119"/>
                        </a:cubicBezTo>
                        <a:cubicBezTo>
                          <a:pt x="199" y="118"/>
                          <a:pt x="197" y="117"/>
                          <a:pt x="195" y="115"/>
                        </a:cubicBezTo>
                        <a:cubicBezTo>
                          <a:pt x="193" y="113"/>
                          <a:pt x="192" y="111"/>
                          <a:pt x="189" y="112"/>
                        </a:cubicBezTo>
                        <a:cubicBezTo>
                          <a:pt x="189" y="113"/>
                          <a:pt x="189" y="113"/>
                          <a:pt x="189" y="113"/>
                        </a:cubicBezTo>
                        <a:cubicBezTo>
                          <a:pt x="186" y="113"/>
                          <a:pt x="187" y="108"/>
                          <a:pt x="187" y="107"/>
                        </a:cubicBezTo>
                        <a:cubicBezTo>
                          <a:pt x="186" y="105"/>
                          <a:pt x="185" y="103"/>
                          <a:pt x="183" y="102"/>
                        </a:cubicBezTo>
                        <a:cubicBezTo>
                          <a:pt x="182" y="101"/>
                          <a:pt x="181" y="102"/>
                          <a:pt x="179" y="101"/>
                        </a:cubicBezTo>
                        <a:cubicBezTo>
                          <a:pt x="178" y="100"/>
                          <a:pt x="178" y="100"/>
                          <a:pt x="176" y="99"/>
                        </a:cubicBezTo>
                        <a:cubicBezTo>
                          <a:pt x="175" y="99"/>
                          <a:pt x="174" y="97"/>
                          <a:pt x="173" y="97"/>
                        </a:cubicBezTo>
                        <a:cubicBezTo>
                          <a:pt x="172" y="97"/>
                          <a:pt x="170" y="97"/>
                          <a:pt x="169" y="97"/>
                        </a:cubicBezTo>
                        <a:cubicBezTo>
                          <a:pt x="169" y="96"/>
                          <a:pt x="169" y="95"/>
                          <a:pt x="169" y="95"/>
                        </a:cubicBezTo>
                        <a:cubicBezTo>
                          <a:pt x="164" y="95"/>
                          <a:pt x="162" y="92"/>
                          <a:pt x="159" y="89"/>
                        </a:cubicBezTo>
                        <a:cubicBezTo>
                          <a:pt x="158" y="88"/>
                          <a:pt x="157" y="86"/>
                          <a:pt x="155" y="86"/>
                        </a:cubicBezTo>
                        <a:cubicBezTo>
                          <a:pt x="152" y="86"/>
                          <a:pt x="153" y="89"/>
                          <a:pt x="153" y="91"/>
                        </a:cubicBezTo>
                        <a:cubicBezTo>
                          <a:pt x="151" y="91"/>
                          <a:pt x="150" y="88"/>
                          <a:pt x="148" y="87"/>
                        </a:cubicBezTo>
                        <a:cubicBezTo>
                          <a:pt x="146" y="86"/>
                          <a:pt x="145" y="88"/>
                          <a:pt x="143" y="86"/>
                        </a:cubicBezTo>
                        <a:cubicBezTo>
                          <a:pt x="142" y="85"/>
                          <a:pt x="142" y="84"/>
                          <a:pt x="142" y="83"/>
                        </a:cubicBezTo>
                        <a:cubicBezTo>
                          <a:pt x="141" y="82"/>
                          <a:pt x="140" y="81"/>
                          <a:pt x="139" y="81"/>
                        </a:cubicBezTo>
                        <a:cubicBezTo>
                          <a:pt x="137" y="82"/>
                          <a:pt x="137" y="84"/>
                          <a:pt x="136" y="85"/>
                        </a:cubicBezTo>
                        <a:cubicBezTo>
                          <a:pt x="135" y="86"/>
                          <a:pt x="133" y="85"/>
                          <a:pt x="132" y="85"/>
                        </a:cubicBezTo>
                        <a:cubicBezTo>
                          <a:pt x="133" y="82"/>
                          <a:pt x="129" y="84"/>
                          <a:pt x="129" y="82"/>
                        </a:cubicBezTo>
                        <a:cubicBezTo>
                          <a:pt x="128" y="81"/>
                          <a:pt x="127" y="81"/>
                          <a:pt x="126" y="82"/>
                        </a:cubicBezTo>
                        <a:cubicBezTo>
                          <a:pt x="126" y="80"/>
                          <a:pt x="126" y="79"/>
                          <a:pt x="126" y="77"/>
                        </a:cubicBezTo>
                        <a:cubicBezTo>
                          <a:pt x="123" y="77"/>
                          <a:pt x="120" y="79"/>
                          <a:pt x="116" y="78"/>
                        </a:cubicBezTo>
                        <a:cubicBezTo>
                          <a:pt x="113" y="77"/>
                          <a:pt x="111" y="77"/>
                          <a:pt x="108" y="77"/>
                        </a:cubicBezTo>
                        <a:cubicBezTo>
                          <a:pt x="108" y="74"/>
                          <a:pt x="107" y="74"/>
                          <a:pt x="104" y="73"/>
                        </a:cubicBezTo>
                        <a:cubicBezTo>
                          <a:pt x="101" y="72"/>
                          <a:pt x="98" y="69"/>
                          <a:pt x="95" y="69"/>
                        </a:cubicBezTo>
                        <a:cubicBezTo>
                          <a:pt x="95" y="66"/>
                          <a:pt x="95" y="64"/>
                          <a:pt x="90" y="63"/>
                        </a:cubicBezTo>
                        <a:cubicBezTo>
                          <a:pt x="87" y="63"/>
                          <a:pt x="83" y="65"/>
                          <a:pt x="83" y="61"/>
                        </a:cubicBezTo>
                        <a:cubicBezTo>
                          <a:pt x="80" y="60"/>
                          <a:pt x="80" y="57"/>
                          <a:pt x="77" y="56"/>
                        </a:cubicBezTo>
                        <a:cubicBezTo>
                          <a:pt x="77" y="55"/>
                          <a:pt x="78" y="54"/>
                          <a:pt x="78" y="53"/>
                        </a:cubicBezTo>
                        <a:cubicBezTo>
                          <a:pt x="80" y="53"/>
                          <a:pt x="85" y="53"/>
                          <a:pt x="85" y="51"/>
                        </a:cubicBezTo>
                        <a:cubicBezTo>
                          <a:pt x="84" y="49"/>
                          <a:pt x="79" y="47"/>
                          <a:pt x="78" y="46"/>
                        </a:cubicBezTo>
                        <a:cubicBezTo>
                          <a:pt x="75" y="44"/>
                          <a:pt x="71" y="41"/>
                          <a:pt x="68" y="38"/>
                        </a:cubicBezTo>
                        <a:cubicBezTo>
                          <a:pt x="66" y="36"/>
                          <a:pt x="66" y="33"/>
                          <a:pt x="63" y="31"/>
                        </a:cubicBezTo>
                        <a:cubicBezTo>
                          <a:pt x="60" y="29"/>
                          <a:pt x="58" y="32"/>
                          <a:pt x="55" y="31"/>
                        </a:cubicBezTo>
                        <a:cubicBezTo>
                          <a:pt x="53" y="31"/>
                          <a:pt x="53" y="34"/>
                          <a:pt x="51" y="35"/>
                        </a:cubicBezTo>
                        <a:cubicBezTo>
                          <a:pt x="48" y="36"/>
                          <a:pt x="49" y="38"/>
                          <a:pt x="47" y="40"/>
                        </a:cubicBezTo>
                        <a:cubicBezTo>
                          <a:pt x="45" y="41"/>
                          <a:pt x="43" y="37"/>
                          <a:pt x="42" y="37"/>
                        </a:cubicBezTo>
                        <a:cubicBezTo>
                          <a:pt x="43" y="35"/>
                          <a:pt x="42" y="33"/>
                          <a:pt x="42" y="32"/>
                        </a:cubicBezTo>
                        <a:cubicBezTo>
                          <a:pt x="40" y="33"/>
                          <a:pt x="36" y="34"/>
                          <a:pt x="33" y="33"/>
                        </a:cubicBezTo>
                        <a:cubicBezTo>
                          <a:pt x="32" y="32"/>
                          <a:pt x="32" y="28"/>
                          <a:pt x="31" y="26"/>
                        </a:cubicBezTo>
                        <a:cubicBezTo>
                          <a:pt x="29" y="23"/>
                          <a:pt x="33" y="20"/>
                          <a:pt x="35" y="18"/>
                        </a:cubicBezTo>
                        <a:cubicBezTo>
                          <a:pt x="37" y="16"/>
                          <a:pt x="38" y="12"/>
                          <a:pt x="39" y="9"/>
                        </a:cubicBezTo>
                        <a:cubicBezTo>
                          <a:pt x="40" y="9"/>
                          <a:pt x="41" y="8"/>
                          <a:pt x="43" y="8"/>
                        </a:cubicBezTo>
                        <a:cubicBezTo>
                          <a:pt x="39" y="6"/>
                          <a:pt x="35" y="6"/>
                          <a:pt x="32" y="3"/>
                        </a:cubicBezTo>
                        <a:cubicBezTo>
                          <a:pt x="31" y="2"/>
                          <a:pt x="29" y="1"/>
                          <a:pt x="28" y="0"/>
                        </a:cubicBezTo>
                        <a:cubicBezTo>
                          <a:pt x="27" y="0"/>
                          <a:pt x="27" y="0"/>
                          <a:pt x="27" y="0"/>
                        </a:cubicBezTo>
                        <a:cubicBezTo>
                          <a:pt x="27" y="1"/>
                          <a:pt x="27" y="2"/>
                          <a:pt x="26" y="3"/>
                        </a:cubicBezTo>
                        <a:cubicBezTo>
                          <a:pt x="24" y="7"/>
                          <a:pt x="18" y="10"/>
                          <a:pt x="18" y="15"/>
                        </a:cubicBezTo>
                        <a:cubicBezTo>
                          <a:pt x="16" y="16"/>
                          <a:pt x="14" y="15"/>
                          <a:pt x="14" y="17"/>
                        </a:cubicBezTo>
                        <a:cubicBezTo>
                          <a:pt x="13" y="19"/>
                          <a:pt x="12" y="19"/>
                          <a:pt x="12" y="20"/>
                        </a:cubicBezTo>
                        <a:cubicBezTo>
                          <a:pt x="8" y="20"/>
                          <a:pt x="9" y="24"/>
                          <a:pt x="8" y="26"/>
                        </a:cubicBezTo>
                        <a:cubicBezTo>
                          <a:pt x="8" y="28"/>
                          <a:pt x="7" y="29"/>
                          <a:pt x="6" y="30"/>
                        </a:cubicBezTo>
                        <a:cubicBezTo>
                          <a:pt x="5" y="32"/>
                          <a:pt x="5" y="33"/>
                          <a:pt x="4" y="35"/>
                        </a:cubicBezTo>
                        <a:cubicBezTo>
                          <a:pt x="3" y="35"/>
                          <a:pt x="3" y="35"/>
                          <a:pt x="3" y="35"/>
                        </a:cubicBezTo>
                        <a:cubicBezTo>
                          <a:pt x="2" y="40"/>
                          <a:pt x="0" y="47"/>
                          <a:pt x="1" y="52"/>
                        </a:cubicBezTo>
                        <a:cubicBezTo>
                          <a:pt x="3" y="57"/>
                          <a:pt x="3" y="62"/>
                          <a:pt x="3" y="67"/>
                        </a:cubicBezTo>
                        <a:cubicBezTo>
                          <a:pt x="3" y="74"/>
                          <a:pt x="3" y="74"/>
                          <a:pt x="3" y="74"/>
                        </a:cubicBezTo>
                        <a:cubicBezTo>
                          <a:pt x="4" y="74"/>
                          <a:pt x="4" y="73"/>
                          <a:pt x="5" y="73"/>
                        </a:cubicBezTo>
                        <a:cubicBezTo>
                          <a:pt x="6" y="74"/>
                          <a:pt x="6" y="74"/>
                          <a:pt x="6" y="74"/>
                        </a:cubicBezTo>
                        <a:cubicBezTo>
                          <a:pt x="6" y="76"/>
                          <a:pt x="5" y="75"/>
                          <a:pt x="5" y="75"/>
                        </a:cubicBezTo>
                        <a:cubicBezTo>
                          <a:pt x="5" y="76"/>
                          <a:pt x="5" y="76"/>
                          <a:pt x="5" y="76"/>
                        </a:cubicBezTo>
                        <a:cubicBezTo>
                          <a:pt x="6" y="76"/>
                          <a:pt x="6" y="76"/>
                          <a:pt x="6" y="76"/>
                        </a:cubicBezTo>
                        <a:cubicBezTo>
                          <a:pt x="6" y="77"/>
                          <a:pt x="6" y="77"/>
                          <a:pt x="6" y="77"/>
                        </a:cubicBezTo>
                        <a:cubicBezTo>
                          <a:pt x="6" y="77"/>
                          <a:pt x="6" y="77"/>
                          <a:pt x="6" y="77"/>
                        </a:cubicBezTo>
                        <a:cubicBezTo>
                          <a:pt x="7" y="78"/>
                          <a:pt x="7" y="78"/>
                          <a:pt x="7" y="78"/>
                        </a:cubicBezTo>
                        <a:cubicBezTo>
                          <a:pt x="7" y="78"/>
                          <a:pt x="7" y="78"/>
                          <a:pt x="7" y="78"/>
                        </a:cubicBezTo>
                        <a:cubicBezTo>
                          <a:pt x="7" y="79"/>
                          <a:pt x="8" y="79"/>
                          <a:pt x="8" y="79"/>
                        </a:cubicBezTo>
                        <a:cubicBezTo>
                          <a:pt x="8" y="80"/>
                          <a:pt x="9" y="79"/>
                          <a:pt x="9" y="79"/>
                        </a:cubicBezTo>
                        <a:cubicBezTo>
                          <a:pt x="9" y="81"/>
                          <a:pt x="9" y="81"/>
                          <a:pt x="9" y="81"/>
                        </a:cubicBezTo>
                        <a:cubicBezTo>
                          <a:pt x="9" y="81"/>
                          <a:pt x="9" y="82"/>
                          <a:pt x="9" y="82"/>
                        </a:cubicBezTo>
                        <a:cubicBezTo>
                          <a:pt x="9" y="83"/>
                          <a:pt x="11" y="83"/>
                          <a:pt x="9" y="84"/>
                        </a:cubicBezTo>
                        <a:cubicBezTo>
                          <a:pt x="8" y="84"/>
                          <a:pt x="8" y="85"/>
                          <a:pt x="9" y="86"/>
                        </a:cubicBezTo>
                        <a:cubicBezTo>
                          <a:pt x="10" y="87"/>
                          <a:pt x="10" y="88"/>
                          <a:pt x="9" y="88"/>
                        </a:cubicBezTo>
                        <a:cubicBezTo>
                          <a:pt x="9" y="88"/>
                          <a:pt x="9" y="88"/>
                          <a:pt x="9" y="88"/>
                        </a:cubicBezTo>
                        <a:cubicBezTo>
                          <a:pt x="9" y="89"/>
                          <a:pt x="10" y="89"/>
                          <a:pt x="10" y="90"/>
                        </a:cubicBezTo>
                        <a:cubicBezTo>
                          <a:pt x="11" y="92"/>
                          <a:pt x="10" y="94"/>
                          <a:pt x="12" y="96"/>
                        </a:cubicBezTo>
                        <a:cubicBezTo>
                          <a:pt x="14" y="99"/>
                          <a:pt x="16" y="101"/>
                          <a:pt x="17" y="104"/>
                        </a:cubicBezTo>
                        <a:cubicBezTo>
                          <a:pt x="17" y="104"/>
                          <a:pt x="17" y="104"/>
                          <a:pt x="17" y="104"/>
                        </a:cubicBezTo>
                        <a:cubicBezTo>
                          <a:pt x="17" y="105"/>
                          <a:pt x="17" y="105"/>
                          <a:pt x="17" y="105"/>
                        </a:cubicBezTo>
                        <a:cubicBezTo>
                          <a:pt x="19" y="108"/>
                          <a:pt x="19" y="110"/>
                          <a:pt x="19" y="113"/>
                        </a:cubicBezTo>
                        <a:cubicBezTo>
                          <a:pt x="19" y="114"/>
                          <a:pt x="19" y="114"/>
                          <a:pt x="19" y="114"/>
                        </a:cubicBezTo>
                        <a:cubicBezTo>
                          <a:pt x="19" y="115"/>
                          <a:pt x="19" y="116"/>
                          <a:pt x="20" y="116"/>
                        </a:cubicBezTo>
                        <a:cubicBezTo>
                          <a:pt x="20" y="117"/>
                          <a:pt x="20" y="117"/>
                          <a:pt x="20" y="117"/>
                        </a:cubicBezTo>
                        <a:cubicBezTo>
                          <a:pt x="20" y="118"/>
                          <a:pt x="20" y="118"/>
                          <a:pt x="20" y="119"/>
                        </a:cubicBezTo>
                        <a:cubicBezTo>
                          <a:pt x="20" y="119"/>
                          <a:pt x="20" y="119"/>
                          <a:pt x="20" y="119"/>
                        </a:cubicBezTo>
                        <a:cubicBezTo>
                          <a:pt x="20" y="119"/>
                          <a:pt x="20" y="119"/>
                          <a:pt x="20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9" y="119"/>
                          <a:pt x="19" y="119"/>
                          <a:pt x="19" y="119"/>
                        </a:cubicBezTo>
                        <a:cubicBezTo>
                          <a:pt x="17" y="120"/>
                          <a:pt x="15" y="119"/>
                          <a:pt x="14" y="120"/>
                        </a:cubicBezTo>
                        <a:cubicBezTo>
                          <a:pt x="14" y="120"/>
                          <a:pt x="14" y="120"/>
                          <a:pt x="14" y="120"/>
                        </a:cubicBezTo>
                        <a:cubicBezTo>
                          <a:pt x="14" y="120"/>
                          <a:pt x="14" y="120"/>
                          <a:pt x="14" y="120"/>
                        </a:cubicBezTo>
                        <a:cubicBezTo>
                          <a:pt x="14" y="120"/>
                          <a:pt x="14" y="120"/>
                          <a:pt x="14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3" y="120"/>
                          <a:pt x="13" y="120"/>
                          <a:pt x="13" y="120"/>
                        </a:cubicBezTo>
                        <a:cubicBezTo>
                          <a:pt x="15" y="122"/>
                          <a:pt x="14" y="122"/>
                          <a:pt x="12" y="124"/>
                        </a:cubicBezTo>
                        <a:cubicBezTo>
                          <a:pt x="7" y="129"/>
                          <a:pt x="14" y="137"/>
                          <a:pt x="14" y="142"/>
                        </a:cubicBezTo>
                        <a:cubicBezTo>
                          <a:pt x="14" y="145"/>
                          <a:pt x="18" y="145"/>
                          <a:pt x="20" y="146"/>
                        </a:cubicBezTo>
                        <a:cubicBezTo>
                          <a:pt x="21" y="146"/>
                          <a:pt x="22" y="146"/>
                          <a:pt x="23" y="147"/>
                        </a:cubicBezTo>
                        <a:cubicBezTo>
                          <a:pt x="25" y="149"/>
                          <a:pt x="21" y="149"/>
                          <a:pt x="21" y="149"/>
                        </a:cubicBezTo>
                        <a:cubicBezTo>
                          <a:pt x="21" y="152"/>
                          <a:pt x="26" y="149"/>
                          <a:pt x="25" y="154"/>
                        </a:cubicBezTo>
                        <a:cubicBezTo>
                          <a:pt x="23" y="154"/>
                          <a:pt x="23" y="155"/>
                          <a:pt x="23" y="156"/>
                        </a:cubicBezTo>
                        <a:cubicBezTo>
                          <a:pt x="20" y="156"/>
                          <a:pt x="20" y="158"/>
                          <a:pt x="20" y="161"/>
                        </a:cubicBezTo>
                        <a:cubicBezTo>
                          <a:pt x="23" y="161"/>
                          <a:pt x="28" y="160"/>
                          <a:pt x="29" y="164"/>
                        </a:cubicBezTo>
                        <a:cubicBezTo>
                          <a:pt x="27" y="164"/>
                          <a:pt x="23" y="164"/>
                          <a:pt x="23" y="166"/>
                        </a:cubicBezTo>
                        <a:cubicBezTo>
                          <a:pt x="21" y="166"/>
                          <a:pt x="19" y="166"/>
                          <a:pt x="17" y="166"/>
                        </a:cubicBezTo>
                        <a:cubicBezTo>
                          <a:pt x="17" y="167"/>
                          <a:pt x="17" y="167"/>
                          <a:pt x="17" y="167"/>
                        </a:cubicBezTo>
                        <a:cubicBezTo>
                          <a:pt x="13" y="167"/>
                          <a:pt x="11" y="175"/>
                          <a:pt x="15" y="175"/>
                        </a:cubicBezTo>
                        <a:cubicBezTo>
                          <a:pt x="14" y="168"/>
                          <a:pt x="21" y="171"/>
                          <a:pt x="26" y="171"/>
                        </a:cubicBezTo>
                        <a:cubicBezTo>
                          <a:pt x="26" y="169"/>
                          <a:pt x="26" y="168"/>
                          <a:pt x="26" y="167"/>
                        </a:cubicBezTo>
                        <a:cubicBezTo>
                          <a:pt x="29" y="167"/>
                          <a:pt x="31" y="167"/>
                          <a:pt x="33" y="169"/>
                        </a:cubicBezTo>
                        <a:cubicBezTo>
                          <a:pt x="34" y="171"/>
                          <a:pt x="37" y="167"/>
                          <a:pt x="39" y="167"/>
                        </a:cubicBezTo>
                        <a:cubicBezTo>
                          <a:pt x="40" y="169"/>
                          <a:pt x="40" y="171"/>
                          <a:pt x="42" y="171"/>
                        </a:cubicBezTo>
                        <a:cubicBezTo>
                          <a:pt x="42" y="170"/>
                          <a:pt x="43" y="168"/>
                          <a:pt x="43" y="167"/>
                        </a:cubicBezTo>
                        <a:cubicBezTo>
                          <a:pt x="44" y="167"/>
                          <a:pt x="44" y="167"/>
                          <a:pt x="45" y="167"/>
                        </a:cubicBezTo>
                        <a:cubicBezTo>
                          <a:pt x="45" y="166"/>
                          <a:pt x="46" y="165"/>
                          <a:pt x="47" y="165"/>
                        </a:cubicBezTo>
                        <a:cubicBezTo>
                          <a:pt x="47" y="167"/>
                          <a:pt x="49" y="169"/>
                          <a:pt x="50" y="169"/>
                        </a:cubicBezTo>
                        <a:cubicBezTo>
                          <a:pt x="49" y="170"/>
                          <a:pt x="49" y="172"/>
                          <a:pt x="51" y="172"/>
                        </a:cubicBezTo>
                        <a:cubicBezTo>
                          <a:pt x="53" y="173"/>
                          <a:pt x="55" y="172"/>
                          <a:pt x="57" y="172"/>
                        </a:cubicBezTo>
                        <a:cubicBezTo>
                          <a:pt x="59" y="172"/>
                          <a:pt x="61" y="174"/>
                          <a:pt x="64" y="174"/>
                        </a:cubicBezTo>
                        <a:cubicBezTo>
                          <a:pt x="66" y="174"/>
                          <a:pt x="68" y="174"/>
                          <a:pt x="71" y="174"/>
                        </a:cubicBezTo>
                        <a:cubicBezTo>
                          <a:pt x="71" y="173"/>
                          <a:pt x="71" y="173"/>
                          <a:pt x="71" y="173"/>
                        </a:cubicBezTo>
                        <a:cubicBezTo>
                          <a:pt x="75" y="173"/>
                          <a:pt x="76" y="174"/>
                          <a:pt x="78" y="176"/>
                        </a:cubicBezTo>
                        <a:cubicBezTo>
                          <a:pt x="78" y="178"/>
                          <a:pt x="80" y="178"/>
                          <a:pt x="82" y="179"/>
                        </a:cubicBezTo>
                        <a:cubicBezTo>
                          <a:pt x="84" y="179"/>
                          <a:pt x="84" y="181"/>
                          <a:pt x="84" y="183"/>
                        </a:cubicBezTo>
                        <a:cubicBezTo>
                          <a:pt x="84" y="186"/>
                          <a:pt x="86" y="188"/>
                          <a:pt x="87" y="190"/>
                        </a:cubicBezTo>
                        <a:cubicBezTo>
                          <a:pt x="89" y="193"/>
                          <a:pt x="87" y="196"/>
                          <a:pt x="87" y="199"/>
                        </a:cubicBezTo>
                        <a:cubicBezTo>
                          <a:pt x="83" y="200"/>
                          <a:pt x="85" y="203"/>
                          <a:pt x="83" y="203"/>
                        </a:cubicBezTo>
                        <a:cubicBezTo>
                          <a:pt x="82" y="205"/>
                          <a:pt x="83" y="206"/>
                          <a:pt x="82" y="208"/>
                        </a:cubicBezTo>
                        <a:cubicBezTo>
                          <a:pt x="80" y="209"/>
                          <a:pt x="80" y="213"/>
                          <a:pt x="78" y="215"/>
                        </a:cubicBezTo>
                        <a:cubicBezTo>
                          <a:pt x="77" y="217"/>
                          <a:pt x="75" y="219"/>
                          <a:pt x="75" y="221"/>
                        </a:cubicBezTo>
                        <a:cubicBezTo>
                          <a:pt x="73" y="219"/>
                          <a:pt x="73" y="223"/>
                          <a:pt x="73" y="224"/>
                        </a:cubicBezTo>
                        <a:cubicBezTo>
                          <a:pt x="72" y="224"/>
                          <a:pt x="72" y="224"/>
                          <a:pt x="72" y="224"/>
                        </a:cubicBezTo>
                        <a:cubicBezTo>
                          <a:pt x="72" y="226"/>
                          <a:pt x="75" y="228"/>
                          <a:pt x="74" y="229"/>
                        </a:cubicBezTo>
                        <a:cubicBezTo>
                          <a:pt x="73" y="231"/>
                          <a:pt x="72" y="230"/>
                          <a:pt x="70" y="230"/>
                        </a:cubicBezTo>
                        <a:cubicBezTo>
                          <a:pt x="69" y="230"/>
                          <a:pt x="68" y="231"/>
                          <a:pt x="67" y="232"/>
                        </a:cubicBezTo>
                        <a:cubicBezTo>
                          <a:pt x="64" y="233"/>
                          <a:pt x="61" y="232"/>
                          <a:pt x="58" y="232"/>
                        </a:cubicBezTo>
                        <a:cubicBezTo>
                          <a:pt x="55" y="232"/>
                          <a:pt x="56" y="236"/>
                          <a:pt x="55" y="238"/>
                        </a:cubicBezTo>
                        <a:cubicBezTo>
                          <a:pt x="54" y="238"/>
                          <a:pt x="52" y="237"/>
                          <a:pt x="51" y="238"/>
                        </a:cubicBezTo>
                        <a:cubicBezTo>
                          <a:pt x="51" y="239"/>
                          <a:pt x="51" y="241"/>
                          <a:pt x="51" y="242"/>
                        </a:cubicBezTo>
                        <a:cubicBezTo>
                          <a:pt x="51" y="244"/>
                          <a:pt x="50" y="249"/>
                          <a:pt x="54" y="249"/>
                        </a:cubicBezTo>
                        <a:cubicBezTo>
                          <a:pt x="54" y="250"/>
                          <a:pt x="55" y="251"/>
                          <a:pt x="55" y="253"/>
                        </a:cubicBezTo>
                        <a:cubicBezTo>
                          <a:pt x="52" y="252"/>
                          <a:pt x="53" y="256"/>
                          <a:pt x="50" y="255"/>
                        </a:cubicBezTo>
                        <a:cubicBezTo>
                          <a:pt x="50" y="258"/>
                          <a:pt x="50" y="260"/>
                          <a:pt x="48" y="262"/>
                        </a:cubicBezTo>
                        <a:cubicBezTo>
                          <a:pt x="47" y="263"/>
                          <a:pt x="44" y="265"/>
                          <a:pt x="42" y="265"/>
                        </a:cubicBezTo>
                        <a:cubicBezTo>
                          <a:pt x="42" y="268"/>
                          <a:pt x="51" y="280"/>
                          <a:pt x="45" y="282"/>
                        </a:cubicBezTo>
                        <a:cubicBezTo>
                          <a:pt x="44" y="284"/>
                          <a:pt x="46" y="284"/>
                          <a:pt x="48" y="285"/>
                        </a:cubicBezTo>
                        <a:cubicBezTo>
                          <a:pt x="53" y="286"/>
                          <a:pt x="50" y="291"/>
                          <a:pt x="50" y="294"/>
                        </a:cubicBezTo>
                        <a:cubicBezTo>
                          <a:pt x="51" y="294"/>
                          <a:pt x="52" y="295"/>
                          <a:pt x="54" y="295"/>
                        </a:cubicBezTo>
                        <a:cubicBezTo>
                          <a:pt x="54" y="292"/>
                          <a:pt x="54" y="290"/>
                          <a:pt x="57" y="289"/>
                        </a:cubicBezTo>
                        <a:cubicBezTo>
                          <a:pt x="57" y="292"/>
                          <a:pt x="60" y="290"/>
                          <a:pt x="62" y="292"/>
                        </a:cubicBezTo>
                        <a:cubicBezTo>
                          <a:pt x="64" y="293"/>
                          <a:pt x="62" y="298"/>
                          <a:pt x="66" y="298"/>
                        </a:cubicBezTo>
                        <a:cubicBezTo>
                          <a:pt x="66" y="298"/>
                          <a:pt x="67" y="297"/>
                          <a:pt x="66" y="297"/>
                        </a:cubicBezTo>
                        <a:cubicBezTo>
                          <a:pt x="68" y="296"/>
                          <a:pt x="71" y="296"/>
                          <a:pt x="71" y="299"/>
                        </a:cubicBezTo>
                        <a:cubicBezTo>
                          <a:pt x="74" y="298"/>
                          <a:pt x="75" y="296"/>
                          <a:pt x="78" y="295"/>
                        </a:cubicBezTo>
                        <a:cubicBezTo>
                          <a:pt x="78" y="293"/>
                          <a:pt x="79" y="291"/>
                          <a:pt x="80" y="290"/>
                        </a:cubicBezTo>
                        <a:cubicBezTo>
                          <a:pt x="79" y="289"/>
                          <a:pt x="78" y="287"/>
                          <a:pt x="76" y="286"/>
                        </a:cubicBezTo>
                        <a:cubicBezTo>
                          <a:pt x="76" y="285"/>
                          <a:pt x="77" y="284"/>
                          <a:pt x="78" y="284"/>
                        </a:cubicBezTo>
                        <a:cubicBezTo>
                          <a:pt x="78" y="283"/>
                          <a:pt x="78" y="282"/>
                          <a:pt x="78" y="281"/>
                        </a:cubicBezTo>
                        <a:cubicBezTo>
                          <a:pt x="78" y="280"/>
                          <a:pt x="76" y="280"/>
                          <a:pt x="76" y="278"/>
                        </a:cubicBezTo>
                        <a:cubicBezTo>
                          <a:pt x="74" y="278"/>
                          <a:pt x="72" y="280"/>
                          <a:pt x="69" y="279"/>
                        </a:cubicBezTo>
                        <a:cubicBezTo>
                          <a:pt x="69" y="275"/>
                          <a:pt x="71" y="271"/>
                          <a:pt x="71" y="268"/>
                        </a:cubicBezTo>
                        <a:cubicBezTo>
                          <a:pt x="70" y="265"/>
                          <a:pt x="67" y="267"/>
                          <a:pt x="66" y="265"/>
                        </a:cubicBezTo>
                        <a:cubicBezTo>
                          <a:pt x="65" y="263"/>
                          <a:pt x="68" y="254"/>
                          <a:pt x="63" y="254"/>
                        </a:cubicBezTo>
                        <a:cubicBezTo>
                          <a:pt x="62" y="252"/>
                          <a:pt x="64" y="248"/>
                          <a:pt x="61" y="246"/>
                        </a:cubicBezTo>
                        <a:cubicBezTo>
                          <a:pt x="60" y="246"/>
                          <a:pt x="56" y="246"/>
                          <a:pt x="57" y="244"/>
                        </a:cubicBezTo>
                        <a:cubicBezTo>
                          <a:pt x="59" y="244"/>
                          <a:pt x="60" y="242"/>
                          <a:pt x="62" y="240"/>
                        </a:cubicBezTo>
                        <a:cubicBezTo>
                          <a:pt x="65" y="239"/>
                          <a:pt x="67" y="239"/>
                          <a:pt x="67" y="243"/>
                        </a:cubicBezTo>
                        <a:cubicBezTo>
                          <a:pt x="70" y="243"/>
                          <a:pt x="71" y="243"/>
                          <a:pt x="71" y="240"/>
                        </a:cubicBezTo>
                        <a:cubicBezTo>
                          <a:pt x="72" y="240"/>
                          <a:pt x="73" y="240"/>
                          <a:pt x="73" y="240"/>
                        </a:cubicBezTo>
                        <a:cubicBezTo>
                          <a:pt x="73" y="239"/>
                          <a:pt x="73" y="238"/>
                          <a:pt x="73" y="237"/>
                        </a:cubicBezTo>
                        <a:cubicBezTo>
                          <a:pt x="76" y="237"/>
                          <a:pt x="77" y="234"/>
                          <a:pt x="79" y="234"/>
                        </a:cubicBezTo>
                        <a:cubicBezTo>
                          <a:pt x="80" y="235"/>
                          <a:pt x="79" y="236"/>
                          <a:pt x="78" y="237"/>
                        </a:cubicBezTo>
                        <a:cubicBezTo>
                          <a:pt x="77" y="239"/>
                          <a:pt x="80" y="241"/>
                          <a:pt x="80" y="243"/>
                        </a:cubicBezTo>
                        <a:cubicBezTo>
                          <a:pt x="77" y="243"/>
                          <a:pt x="74" y="243"/>
                          <a:pt x="74" y="247"/>
                        </a:cubicBezTo>
                        <a:cubicBezTo>
                          <a:pt x="75" y="247"/>
                          <a:pt x="76" y="248"/>
                          <a:pt x="76" y="248"/>
                        </a:cubicBezTo>
                        <a:cubicBezTo>
                          <a:pt x="76" y="247"/>
                          <a:pt x="77" y="246"/>
                          <a:pt x="77" y="245"/>
                        </a:cubicBezTo>
                        <a:cubicBezTo>
                          <a:pt x="77" y="245"/>
                          <a:pt x="78" y="245"/>
                          <a:pt x="79" y="245"/>
                        </a:cubicBezTo>
                        <a:cubicBezTo>
                          <a:pt x="79" y="247"/>
                          <a:pt x="79" y="249"/>
                          <a:pt x="77" y="250"/>
                        </a:cubicBezTo>
                        <a:cubicBezTo>
                          <a:pt x="77" y="250"/>
                          <a:pt x="77" y="251"/>
                          <a:pt x="77" y="252"/>
                        </a:cubicBezTo>
                        <a:cubicBezTo>
                          <a:pt x="78" y="252"/>
                          <a:pt x="79" y="251"/>
                          <a:pt x="79" y="250"/>
                        </a:cubicBezTo>
                        <a:cubicBezTo>
                          <a:pt x="80" y="250"/>
                          <a:pt x="82" y="249"/>
                          <a:pt x="83" y="249"/>
                        </a:cubicBezTo>
                        <a:cubicBezTo>
                          <a:pt x="84" y="250"/>
                          <a:pt x="82" y="252"/>
                          <a:pt x="85" y="253"/>
                        </a:cubicBezTo>
                        <a:cubicBezTo>
                          <a:pt x="84" y="253"/>
                          <a:pt x="85" y="254"/>
                          <a:pt x="85" y="254"/>
                        </a:cubicBezTo>
                        <a:cubicBezTo>
                          <a:pt x="86" y="254"/>
                          <a:pt x="87" y="253"/>
                          <a:pt x="89" y="253"/>
                        </a:cubicBezTo>
                        <a:cubicBezTo>
                          <a:pt x="91" y="254"/>
                          <a:pt x="92" y="255"/>
                          <a:pt x="95" y="254"/>
                        </a:cubicBezTo>
                        <a:cubicBezTo>
                          <a:pt x="95" y="254"/>
                          <a:pt x="95" y="253"/>
                          <a:pt x="95" y="252"/>
                        </a:cubicBezTo>
                        <a:cubicBezTo>
                          <a:pt x="97" y="252"/>
                          <a:pt x="94" y="246"/>
                          <a:pt x="94" y="245"/>
                        </a:cubicBezTo>
                        <a:cubicBezTo>
                          <a:pt x="96" y="245"/>
                          <a:pt x="97" y="247"/>
                          <a:pt x="99" y="246"/>
                        </a:cubicBezTo>
                        <a:cubicBezTo>
                          <a:pt x="98" y="250"/>
                          <a:pt x="101" y="249"/>
                          <a:pt x="103" y="249"/>
                        </a:cubicBezTo>
                        <a:cubicBezTo>
                          <a:pt x="104" y="251"/>
                          <a:pt x="93" y="259"/>
                          <a:pt x="100" y="260"/>
                        </a:cubicBezTo>
                        <a:cubicBezTo>
                          <a:pt x="101" y="258"/>
                          <a:pt x="99" y="257"/>
                          <a:pt x="101" y="256"/>
                        </a:cubicBezTo>
                        <a:cubicBezTo>
                          <a:pt x="102" y="255"/>
                          <a:pt x="104" y="256"/>
                          <a:pt x="106" y="256"/>
                        </a:cubicBezTo>
                        <a:cubicBezTo>
                          <a:pt x="106" y="252"/>
                          <a:pt x="109" y="253"/>
                          <a:pt x="109" y="256"/>
                        </a:cubicBezTo>
                        <a:cubicBezTo>
                          <a:pt x="113" y="256"/>
                          <a:pt x="117" y="256"/>
                          <a:pt x="121" y="256"/>
                        </a:cubicBezTo>
                        <a:cubicBezTo>
                          <a:pt x="121" y="255"/>
                          <a:pt x="120" y="248"/>
                          <a:pt x="123" y="250"/>
                        </a:cubicBezTo>
                        <a:cubicBezTo>
                          <a:pt x="125" y="251"/>
                          <a:pt x="131" y="248"/>
                          <a:pt x="129" y="245"/>
                        </a:cubicBezTo>
                        <a:cubicBezTo>
                          <a:pt x="131" y="245"/>
                          <a:pt x="133" y="245"/>
                          <a:pt x="134" y="246"/>
                        </a:cubicBezTo>
                        <a:cubicBezTo>
                          <a:pt x="134" y="244"/>
                          <a:pt x="139" y="243"/>
                          <a:pt x="140" y="243"/>
                        </a:cubicBezTo>
                        <a:cubicBezTo>
                          <a:pt x="140" y="245"/>
                          <a:pt x="140" y="247"/>
                          <a:pt x="142" y="248"/>
                        </a:cubicBezTo>
                        <a:cubicBezTo>
                          <a:pt x="143" y="249"/>
                          <a:pt x="145" y="251"/>
                          <a:pt x="147" y="252"/>
                        </a:cubicBezTo>
                        <a:cubicBezTo>
                          <a:pt x="147" y="256"/>
                          <a:pt x="142" y="255"/>
                          <a:pt x="143" y="258"/>
                        </a:cubicBezTo>
                        <a:cubicBezTo>
                          <a:pt x="144" y="259"/>
                          <a:pt x="144" y="259"/>
                          <a:pt x="144" y="259"/>
                        </a:cubicBezTo>
                        <a:cubicBezTo>
                          <a:pt x="143" y="260"/>
                          <a:pt x="143" y="260"/>
                          <a:pt x="143" y="260"/>
                        </a:cubicBezTo>
                        <a:cubicBezTo>
                          <a:pt x="142" y="260"/>
                          <a:pt x="142" y="260"/>
                          <a:pt x="142" y="261"/>
                        </a:cubicBezTo>
                        <a:cubicBezTo>
                          <a:pt x="141" y="261"/>
                          <a:pt x="140" y="262"/>
                          <a:pt x="140" y="263"/>
                        </a:cubicBezTo>
                        <a:cubicBezTo>
                          <a:pt x="141" y="263"/>
                          <a:pt x="142" y="263"/>
                          <a:pt x="143" y="262"/>
                        </a:cubicBezTo>
                        <a:cubicBezTo>
                          <a:pt x="143" y="261"/>
                          <a:pt x="145" y="259"/>
                          <a:pt x="147" y="260"/>
                        </a:cubicBezTo>
                        <a:cubicBezTo>
                          <a:pt x="148" y="261"/>
                          <a:pt x="148" y="263"/>
                          <a:pt x="148" y="264"/>
                        </a:cubicBezTo>
                        <a:cubicBezTo>
                          <a:pt x="151" y="265"/>
                          <a:pt x="150" y="260"/>
                          <a:pt x="150" y="259"/>
                        </a:cubicBezTo>
                        <a:cubicBezTo>
                          <a:pt x="151" y="258"/>
                          <a:pt x="152" y="258"/>
                          <a:pt x="153" y="259"/>
                        </a:cubicBezTo>
                        <a:cubicBezTo>
                          <a:pt x="153" y="258"/>
                          <a:pt x="154" y="258"/>
                          <a:pt x="154" y="257"/>
                        </a:cubicBezTo>
                        <a:cubicBezTo>
                          <a:pt x="156" y="257"/>
                          <a:pt x="155" y="258"/>
                          <a:pt x="156" y="259"/>
                        </a:cubicBezTo>
                        <a:cubicBezTo>
                          <a:pt x="157" y="261"/>
                          <a:pt x="160" y="260"/>
                          <a:pt x="161" y="260"/>
                        </a:cubicBezTo>
                        <a:cubicBezTo>
                          <a:pt x="161" y="259"/>
                          <a:pt x="161" y="259"/>
                          <a:pt x="161" y="259"/>
                        </a:cubicBezTo>
                        <a:cubicBezTo>
                          <a:pt x="160" y="259"/>
                          <a:pt x="160" y="258"/>
                          <a:pt x="160" y="257"/>
                        </a:cubicBezTo>
                        <a:cubicBezTo>
                          <a:pt x="161" y="257"/>
                          <a:pt x="163" y="257"/>
                          <a:pt x="164" y="257"/>
                        </a:cubicBezTo>
                        <a:cubicBezTo>
                          <a:pt x="164" y="258"/>
                          <a:pt x="164" y="259"/>
                          <a:pt x="164" y="259"/>
                        </a:cubicBezTo>
                        <a:cubicBezTo>
                          <a:pt x="165" y="258"/>
                          <a:pt x="165" y="257"/>
                          <a:pt x="165" y="257"/>
                        </a:cubicBezTo>
                        <a:cubicBezTo>
                          <a:pt x="166" y="257"/>
                          <a:pt x="167" y="257"/>
                          <a:pt x="168" y="257"/>
                        </a:cubicBezTo>
                        <a:cubicBezTo>
                          <a:pt x="168" y="257"/>
                          <a:pt x="168" y="258"/>
                          <a:pt x="167" y="258"/>
                        </a:cubicBezTo>
                        <a:cubicBezTo>
                          <a:pt x="166" y="259"/>
                          <a:pt x="166" y="260"/>
                          <a:pt x="166" y="262"/>
                        </a:cubicBezTo>
                        <a:cubicBezTo>
                          <a:pt x="166" y="264"/>
                          <a:pt x="165" y="266"/>
                          <a:pt x="164" y="268"/>
                        </a:cubicBezTo>
                        <a:cubicBezTo>
                          <a:pt x="167" y="269"/>
                          <a:pt x="168" y="266"/>
                          <a:pt x="170" y="266"/>
                        </a:cubicBezTo>
                        <a:cubicBezTo>
                          <a:pt x="170" y="268"/>
                          <a:pt x="180" y="267"/>
                          <a:pt x="182" y="267"/>
                        </a:cubicBezTo>
                        <a:cubicBezTo>
                          <a:pt x="180" y="263"/>
                          <a:pt x="186" y="261"/>
                          <a:pt x="184" y="258"/>
                        </a:cubicBezTo>
                        <a:cubicBezTo>
                          <a:pt x="184" y="257"/>
                          <a:pt x="185" y="257"/>
                          <a:pt x="186" y="257"/>
                        </a:cubicBezTo>
                        <a:cubicBezTo>
                          <a:pt x="186" y="258"/>
                          <a:pt x="186" y="259"/>
                          <a:pt x="187" y="259"/>
                        </a:cubicBezTo>
                        <a:cubicBezTo>
                          <a:pt x="187" y="258"/>
                          <a:pt x="189" y="256"/>
                          <a:pt x="191" y="257"/>
                        </a:cubicBezTo>
                        <a:cubicBezTo>
                          <a:pt x="191" y="257"/>
                          <a:pt x="191" y="258"/>
                          <a:pt x="191" y="258"/>
                        </a:cubicBezTo>
                        <a:cubicBezTo>
                          <a:pt x="192" y="259"/>
                          <a:pt x="193" y="260"/>
                          <a:pt x="195" y="260"/>
                        </a:cubicBezTo>
                        <a:cubicBezTo>
                          <a:pt x="194" y="258"/>
                          <a:pt x="196" y="257"/>
                          <a:pt x="196" y="255"/>
                        </a:cubicBezTo>
                        <a:cubicBezTo>
                          <a:pt x="197" y="255"/>
                          <a:pt x="199" y="254"/>
                          <a:pt x="201" y="255"/>
                        </a:cubicBezTo>
                        <a:cubicBezTo>
                          <a:pt x="203" y="257"/>
                          <a:pt x="200" y="260"/>
                          <a:pt x="201" y="262"/>
                        </a:cubicBezTo>
                        <a:cubicBezTo>
                          <a:pt x="202" y="262"/>
                          <a:pt x="206" y="261"/>
                          <a:pt x="206" y="263"/>
                        </a:cubicBezTo>
                        <a:cubicBezTo>
                          <a:pt x="207" y="267"/>
                          <a:pt x="212" y="265"/>
                          <a:pt x="215" y="266"/>
                        </a:cubicBezTo>
                        <a:cubicBezTo>
                          <a:pt x="215" y="268"/>
                          <a:pt x="214" y="271"/>
                          <a:pt x="215" y="273"/>
                        </a:cubicBezTo>
                        <a:cubicBezTo>
                          <a:pt x="217" y="275"/>
                          <a:pt x="221" y="273"/>
                          <a:pt x="224" y="274"/>
                        </a:cubicBezTo>
                        <a:cubicBezTo>
                          <a:pt x="224" y="274"/>
                          <a:pt x="224" y="275"/>
                          <a:pt x="224" y="276"/>
                        </a:cubicBezTo>
                        <a:cubicBezTo>
                          <a:pt x="225" y="276"/>
                          <a:pt x="227" y="276"/>
                          <a:pt x="229" y="276"/>
                        </a:cubicBezTo>
                        <a:cubicBezTo>
                          <a:pt x="229" y="278"/>
                          <a:pt x="229" y="280"/>
                          <a:pt x="229" y="281"/>
                        </a:cubicBezTo>
                        <a:cubicBezTo>
                          <a:pt x="230" y="281"/>
                          <a:pt x="231" y="281"/>
                          <a:pt x="232" y="281"/>
                        </a:cubicBezTo>
                        <a:cubicBezTo>
                          <a:pt x="232" y="282"/>
                          <a:pt x="232" y="283"/>
                          <a:pt x="232" y="284"/>
                        </a:cubicBezTo>
                        <a:cubicBezTo>
                          <a:pt x="234" y="284"/>
                          <a:pt x="234" y="286"/>
                          <a:pt x="236" y="286"/>
                        </a:cubicBezTo>
                        <a:cubicBezTo>
                          <a:pt x="236" y="284"/>
                          <a:pt x="235" y="283"/>
                          <a:pt x="236" y="282"/>
                        </a:cubicBezTo>
                        <a:cubicBezTo>
                          <a:pt x="239" y="282"/>
                          <a:pt x="246" y="283"/>
                          <a:pt x="248" y="281"/>
                        </a:cubicBezTo>
                        <a:cubicBezTo>
                          <a:pt x="249" y="280"/>
                          <a:pt x="251" y="281"/>
                          <a:pt x="252" y="282"/>
                        </a:cubicBezTo>
                        <a:cubicBezTo>
                          <a:pt x="252" y="282"/>
                          <a:pt x="252" y="283"/>
                          <a:pt x="252" y="284"/>
                        </a:cubicBezTo>
                        <a:cubicBezTo>
                          <a:pt x="253" y="285"/>
                          <a:pt x="254" y="284"/>
                          <a:pt x="255" y="285"/>
                        </a:cubicBezTo>
                        <a:cubicBezTo>
                          <a:pt x="258" y="288"/>
                          <a:pt x="253" y="290"/>
                          <a:pt x="251" y="288"/>
                        </a:cubicBezTo>
                        <a:cubicBezTo>
                          <a:pt x="250" y="290"/>
                          <a:pt x="250" y="291"/>
                          <a:pt x="250" y="292"/>
                        </a:cubicBezTo>
                        <a:cubicBezTo>
                          <a:pt x="251" y="292"/>
                          <a:pt x="251" y="292"/>
                          <a:pt x="252" y="292"/>
                        </a:cubicBezTo>
                        <a:cubicBezTo>
                          <a:pt x="252" y="294"/>
                          <a:pt x="252" y="295"/>
                          <a:pt x="252" y="296"/>
                        </a:cubicBezTo>
                        <a:cubicBezTo>
                          <a:pt x="255" y="296"/>
                          <a:pt x="255" y="298"/>
                          <a:pt x="254" y="300"/>
                        </a:cubicBezTo>
                        <a:cubicBezTo>
                          <a:pt x="280" y="309"/>
                          <a:pt x="280" y="309"/>
                          <a:pt x="280" y="309"/>
                        </a:cubicBezTo>
                        <a:cubicBezTo>
                          <a:pt x="280" y="309"/>
                          <a:pt x="280" y="309"/>
                          <a:pt x="280" y="309"/>
                        </a:cubicBezTo>
                        <a:cubicBezTo>
                          <a:pt x="279" y="308"/>
                          <a:pt x="278" y="307"/>
                          <a:pt x="280" y="306"/>
                        </a:cubicBezTo>
                        <a:cubicBezTo>
                          <a:pt x="281" y="305"/>
                          <a:pt x="284" y="304"/>
                          <a:pt x="282" y="302"/>
                        </a:cubicBezTo>
                        <a:cubicBezTo>
                          <a:pt x="280" y="300"/>
                          <a:pt x="281" y="298"/>
                          <a:pt x="283" y="297"/>
                        </a:cubicBezTo>
                        <a:cubicBezTo>
                          <a:pt x="284" y="295"/>
                          <a:pt x="282" y="295"/>
                          <a:pt x="282" y="294"/>
                        </a:cubicBezTo>
                        <a:cubicBezTo>
                          <a:pt x="282" y="293"/>
                          <a:pt x="282" y="291"/>
                          <a:pt x="282" y="290"/>
                        </a:cubicBezTo>
                        <a:cubicBezTo>
                          <a:pt x="285" y="290"/>
                          <a:pt x="288" y="289"/>
                          <a:pt x="288" y="285"/>
                        </a:cubicBezTo>
                        <a:cubicBezTo>
                          <a:pt x="288" y="282"/>
                          <a:pt x="286" y="280"/>
                          <a:pt x="283" y="278"/>
                        </a:cubicBezTo>
                        <a:cubicBezTo>
                          <a:pt x="280" y="276"/>
                          <a:pt x="281" y="272"/>
                          <a:pt x="280" y="269"/>
                        </a:cubicBezTo>
                        <a:cubicBezTo>
                          <a:pt x="278" y="266"/>
                          <a:pt x="278" y="263"/>
                          <a:pt x="280" y="259"/>
                        </a:cubicBezTo>
                        <a:cubicBezTo>
                          <a:pt x="281" y="257"/>
                          <a:pt x="282" y="254"/>
                          <a:pt x="285" y="253"/>
                        </a:cubicBezTo>
                        <a:cubicBezTo>
                          <a:pt x="289" y="253"/>
                          <a:pt x="290" y="251"/>
                          <a:pt x="294" y="249"/>
                        </a:cubicBezTo>
                        <a:cubicBezTo>
                          <a:pt x="296" y="248"/>
                          <a:pt x="300" y="248"/>
                          <a:pt x="301" y="245"/>
                        </a:cubicBezTo>
                        <a:cubicBezTo>
                          <a:pt x="303" y="243"/>
                          <a:pt x="304" y="239"/>
                          <a:pt x="307" y="239"/>
                        </a:cubicBezTo>
                        <a:cubicBezTo>
                          <a:pt x="308" y="238"/>
                          <a:pt x="310" y="238"/>
                          <a:pt x="311" y="237"/>
                        </a:cubicBezTo>
                        <a:cubicBezTo>
                          <a:pt x="313" y="236"/>
                          <a:pt x="313" y="235"/>
                          <a:pt x="313" y="233"/>
                        </a:cubicBezTo>
                        <a:cubicBezTo>
                          <a:pt x="314" y="230"/>
                          <a:pt x="319" y="231"/>
                          <a:pt x="319" y="234"/>
                        </a:cubicBezTo>
                        <a:cubicBezTo>
                          <a:pt x="321" y="235"/>
                          <a:pt x="322" y="233"/>
                          <a:pt x="323" y="232"/>
                        </a:cubicBezTo>
                        <a:cubicBezTo>
                          <a:pt x="326" y="230"/>
                          <a:pt x="329" y="233"/>
                          <a:pt x="332" y="233"/>
                        </a:cubicBezTo>
                        <a:cubicBezTo>
                          <a:pt x="338" y="234"/>
                          <a:pt x="338" y="228"/>
                          <a:pt x="333" y="226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27" name="Freeform 446">
                    <a:extLst>
                      <a:ext uri="{FF2B5EF4-FFF2-40B4-BE49-F238E27FC236}">
                        <a16:creationId xmlns:a16="http://schemas.microsoft.com/office/drawing/2014/main" xmlns="" id="{2FDD831E-1584-4883-975B-AF85158C374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00463" y="2601913"/>
                    <a:ext cx="66675" cy="71438"/>
                  </a:xfrm>
                  <a:custGeom>
                    <a:avLst/>
                    <a:gdLst>
                      <a:gd name="T0" fmla="*/ 10 w 19"/>
                      <a:gd name="T1" fmla="*/ 1 h 20"/>
                      <a:gd name="T2" fmla="*/ 11 w 19"/>
                      <a:gd name="T3" fmla="*/ 2 h 20"/>
                      <a:gd name="T4" fmla="*/ 13 w 19"/>
                      <a:gd name="T5" fmla="*/ 1 h 20"/>
                      <a:gd name="T6" fmla="*/ 14 w 19"/>
                      <a:gd name="T7" fmla="*/ 2 h 20"/>
                      <a:gd name="T8" fmla="*/ 13 w 19"/>
                      <a:gd name="T9" fmla="*/ 3 h 20"/>
                      <a:gd name="T10" fmla="*/ 13 w 19"/>
                      <a:gd name="T11" fmla="*/ 4 h 20"/>
                      <a:gd name="T12" fmla="*/ 14 w 19"/>
                      <a:gd name="T13" fmla="*/ 4 h 20"/>
                      <a:gd name="T14" fmla="*/ 14 w 19"/>
                      <a:gd name="T15" fmla="*/ 5 h 20"/>
                      <a:gd name="T16" fmla="*/ 14 w 19"/>
                      <a:gd name="T17" fmla="*/ 5 h 20"/>
                      <a:gd name="T18" fmla="*/ 15 w 19"/>
                      <a:gd name="T19" fmla="*/ 6 h 20"/>
                      <a:gd name="T20" fmla="*/ 15 w 19"/>
                      <a:gd name="T21" fmla="*/ 6 h 20"/>
                      <a:gd name="T22" fmla="*/ 16 w 19"/>
                      <a:gd name="T23" fmla="*/ 7 h 20"/>
                      <a:gd name="T24" fmla="*/ 17 w 19"/>
                      <a:gd name="T25" fmla="*/ 7 h 20"/>
                      <a:gd name="T26" fmla="*/ 17 w 19"/>
                      <a:gd name="T27" fmla="*/ 9 h 20"/>
                      <a:gd name="T28" fmla="*/ 17 w 19"/>
                      <a:gd name="T29" fmla="*/ 10 h 20"/>
                      <a:gd name="T30" fmla="*/ 17 w 19"/>
                      <a:gd name="T31" fmla="*/ 12 h 20"/>
                      <a:gd name="T32" fmla="*/ 17 w 19"/>
                      <a:gd name="T33" fmla="*/ 14 h 20"/>
                      <a:gd name="T34" fmla="*/ 17 w 19"/>
                      <a:gd name="T35" fmla="*/ 16 h 20"/>
                      <a:gd name="T36" fmla="*/ 16 w 19"/>
                      <a:gd name="T37" fmla="*/ 16 h 20"/>
                      <a:gd name="T38" fmla="*/ 14 w 19"/>
                      <a:gd name="T39" fmla="*/ 16 h 20"/>
                      <a:gd name="T40" fmla="*/ 14 w 19"/>
                      <a:gd name="T41" fmla="*/ 18 h 20"/>
                      <a:gd name="T42" fmla="*/ 11 w 19"/>
                      <a:gd name="T43" fmla="*/ 19 h 20"/>
                      <a:gd name="T44" fmla="*/ 11 w 19"/>
                      <a:gd name="T45" fmla="*/ 19 h 20"/>
                      <a:gd name="T46" fmla="*/ 11 w 19"/>
                      <a:gd name="T47" fmla="*/ 18 h 20"/>
                      <a:gd name="T48" fmla="*/ 10 w 19"/>
                      <a:gd name="T49" fmla="*/ 17 h 20"/>
                      <a:gd name="T50" fmla="*/ 10 w 19"/>
                      <a:gd name="T51" fmla="*/ 16 h 20"/>
                      <a:gd name="T52" fmla="*/ 10 w 19"/>
                      <a:gd name="T53" fmla="*/ 16 h 20"/>
                      <a:gd name="T54" fmla="*/ 9 w 19"/>
                      <a:gd name="T55" fmla="*/ 15 h 20"/>
                      <a:gd name="T56" fmla="*/ 9 w 19"/>
                      <a:gd name="T57" fmla="*/ 15 h 20"/>
                      <a:gd name="T58" fmla="*/ 8 w 19"/>
                      <a:gd name="T59" fmla="*/ 15 h 20"/>
                      <a:gd name="T60" fmla="*/ 7 w 19"/>
                      <a:gd name="T61" fmla="*/ 14 h 20"/>
                      <a:gd name="T62" fmla="*/ 6 w 19"/>
                      <a:gd name="T63" fmla="*/ 14 h 20"/>
                      <a:gd name="T64" fmla="*/ 6 w 19"/>
                      <a:gd name="T65" fmla="*/ 15 h 20"/>
                      <a:gd name="T66" fmla="*/ 5 w 19"/>
                      <a:gd name="T67" fmla="*/ 15 h 20"/>
                      <a:gd name="T68" fmla="*/ 3 w 19"/>
                      <a:gd name="T69" fmla="*/ 15 h 20"/>
                      <a:gd name="T70" fmla="*/ 2 w 19"/>
                      <a:gd name="T71" fmla="*/ 15 h 20"/>
                      <a:gd name="T72" fmla="*/ 2 w 19"/>
                      <a:gd name="T73" fmla="*/ 14 h 20"/>
                      <a:gd name="T74" fmla="*/ 1 w 19"/>
                      <a:gd name="T75" fmla="*/ 13 h 20"/>
                      <a:gd name="T76" fmla="*/ 0 w 19"/>
                      <a:gd name="T77" fmla="*/ 12 h 20"/>
                      <a:gd name="T78" fmla="*/ 1 w 19"/>
                      <a:gd name="T79" fmla="*/ 11 h 20"/>
                      <a:gd name="T80" fmla="*/ 2 w 19"/>
                      <a:gd name="T81" fmla="*/ 10 h 20"/>
                      <a:gd name="T82" fmla="*/ 3 w 19"/>
                      <a:gd name="T83" fmla="*/ 10 h 20"/>
                      <a:gd name="T84" fmla="*/ 3 w 19"/>
                      <a:gd name="T85" fmla="*/ 9 h 20"/>
                      <a:gd name="T86" fmla="*/ 4 w 19"/>
                      <a:gd name="T87" fmla="*/ 8 h 20"/>
                      <a:gd name="T88" fmla="*/ 4 w 19"/>
                      <a:gd name="T89" fmla="*/ 8 h 20"/>
                      <a:gd name="T90" fmla="*/ 4 w 19"/>
                      <a:gd name="T91" fmla="*/ 7 h 20"/>
                      <a:gd name="T92" fmla="*/ 4 w 19"/>
                      <a:gd name="T93" fmla="*/ 5 h 20"/>
                      <a:gd name="T94" fmla="*/ 4 w 19"/>
                      <a:gd name="T95" fmla="*/ 3 h 20"/>
                      <a:gd name="T96" fmla="*/ 5 w 19"/>
                      <a:gd name="T97" fmla="*/ 2 h 20"/>
                      <a:gd name="T98" fmla="*/ 7 w 19"/>
                      <a:gd name="T99" fmla="*/ 2 h 20"/>
                      <a:gd name="T100" fmla="*/ 8 w 19"/>
                      <a:gd name="T101" fmla="*/ 1 h 20"/>
                      <a:gd name="T102" fmla="*/ 10 w 19"/>
                      <a:gd name="T103" fmla="*/ 1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19" h="20">
                        <a:moveTo>
                          <a:pt x="10" y="1"/>
                        </a:moveTo>
                        <a:cubicBezTo>
                          <a:pt x="11" y="2"/>
                          <a:pt x="11" y="2"/>
                          <a:pt x="11" y="2"/>
                        </a:cubicBezTo>
                        <a:cubicBezTo>
                          <a:pt x="12" y="2"/>
                          <a:pt x="12" y="1"/>
                          <a:pt x="13" y="1"/>
                        </a:cubicBezTo>
                        <a:cubicBezTo>
                          <a:pt x="14" y="2"/>
                          <a:pt x="14" y="2"/>
                          <a:pt x="14" y="2"/>
                        </a:cubicBezTo>
                        <a:cubicBezTo>
                          <a:pt x="14" y="4"/>
                          <a:pt x="13" y="3"/>
                          <a:pt x="13" y="3"/>
                        </a:cubicBezTo>
                        <a:cubicBezTo>
                          <a:pt x="13" y="4"/>
                          <a:pt x="13" y="4"/>
                          <a:pt x="13" y="4"/>
                        </a:cubicBezTo>
                        <a:cubicBezTo>
                          <a:pt x="14" y="4"/>
                          <a:pt x="14" y="4"/>
                          <a:pt x="14" y="4"/>
                        </a:cubicBezTo>
                        <a:cubicBezTo>
                          <a:pt x="14" y="5"/>
                          <a:pt x="14" y="5"/>
                          <a:pt x="14" y="5"/>
                        </a:cubicBezTo>
                        <a:cubicBezTo>
                          <a:pt x="14" y="5"/>
                          <a:pt x="14" y="5"/>
                          <a:pt x="14" y="5"/>
                        </a:cubicBezTo>
                        <a:cubicBezTo>
                          <a:pt x="15" y="6"/>
                          <a:pt x="15" y="6"/>
                          <a:pt x="15" y="6"/>
                        </a:cubicBezTo>
                        <a:cubicBezTo>
                          <a:pt x="15" y="6"/>
                          <a:pt x="15" y="6"/>
                          <a:pt x="15" y="6"/>
                        </a:cubicBezTo>
                        <a:cubicBezTo>
                          <a:pt x="15" y="7"/>
                          <a:pt x="16" y="7"/>
                          <a:pt x="16" y="7"/>
                        </a:cubicBezTo>
                        <a:cubicBezTo>
                          <a:pt x="16" y="8"/>
                          <a:pt x="17" y="7"/>
                          <a:pt x="17" y="7"/>
                        </a:cubicBezTo>
                        <a:cubicBezTo>
                          <a:pt x="17" y="9"/>
                          <a:pt x="17" y="9"/>
                          <a:pt x="17" y="9"/>
                        </a:cubicBezTo>
                        <a:cubicBezTo>
                          <a:pt x="17" y="9"/>
                          <a:pt x="17" y="10"/>
                          <a:pt x="17" y="10"/>
                        </a:cubicBezTo>
                        <a:cubicBezTo>
                          <a:pt x="17" y="11"/>
                          <a:pt x="19" y="11"/>
                          <a:pt x="17" y="12"/>
                        </a:cubicBezTo>
                        <a:cubicBezTo>
                          <a:pt x="16" y="12"/>
                          <a:pt x="16" y="13"/>
                          <a:pt x="17" y="14"/>
                        </a:cubicBezTo>
                        <a:cubicBezTo>
                          <a:pt x="18" y="15"/>
                          <a:pt x="18" y="16"/>
                          <a:pt x="17" y="16"/>
                        </a:cubicBezTo>
                        <a:cubicBezTo>
                          <a:pt x="16" y="16"/>
                          <a:pt x="16" y="16"/>
                          <a:pt x="16" y="16"/>
                        </a:cubicBezTo>
                        <a:cubicBezTo>
                          <a:pt x="16" y="16"/>
                          <a:pt x="15" y="16"/>
                          <a:pt x="14" y="16"/>
                        </a:cubicBezTo>
                        <a:cubicBezTo>
                          <a:pt x="13" y="17"/>
                          <a:pt x="15" y="17"/>
                          <a:pt x="14" y="18"/>
                        </a:cubicBezTo>
                        <a:cubicBezTo>
                          <a:pt x="14" y="19"/>
                          <a:pt x="12" y="20"/>
                          <a:pt x="11" y="19"/>
                        </a:cubicBezTo>
                        <a:cubicBezTo>
                          <a:pt x="11" y="19"/>
                          <a:pt x="11" y="19"/>
                          <a:pt x="11" y="19"/>
                        </a:cubicBezTo>
                        <a:cubicBezTo>
                          <a:pt x="11" y="18"/>
                          <a:pt x="11" y="18"/>
                          <a:pt x="11" y="18"/>
                        </a:cubicBezTo>
                        <a:cubicBezTo>
                          <a:pt x="11" y="18"/>
                          <a:pt x="10" y="18"/>
                          <a:pt x="10" y="17"/>
                        </a:cubicBezTo>
                        <a:cubicBezTo>
                          <a:pt x="10" y="17"/>
                          <a:pt x="10" y="17"/>
                          <a:pt x="10" y="16"/>
                        </a:cubicBezTo>
                        <a:cubicBezTo>
                          <a:pt x="10" y="16"/>
                          <a:pt x="10" y="16"/>
                          <a:pt x="10" y="16"/>
                        </a:cubicBezTo>
                        <a:cubicBezTo>
                          <a:pt x="9" y="15"/>
                          <a:pt x="9" y="15"/>
                          <a:pt x="9" y="15"/>
                        </a:cubicBezTo>
                        <a:cubicBezTo>
                          <a:pt x="9" y="15"/>
                          <a:pt x="9" y="15"/>
                          <a:pt x="9" y="15"/>
                        </a:cubicBezTo>
                        <a:cubicBezTo>
                          <a:pt x="8" y="15"/>
                          <a:pt x="8" y="15"/>
                          <a:pt x="8" y="15"/>
                        </a:cubicBezTo>
                        <a:cubicBezTo>
                          <a:pt x="7" y="15"/>
                          <a:pt x="7" y="14"/>
                          <a:pt x="7" y="14"/>
                        </a:cubicBezTo>
                        <a:cubicBezTo>
                          <a:pt x="6" y="14"/>
                          <a:pt x="5" y="14"/>
                          <a:pt x="6" y="14"/>
                        </a:cubicBezTo>
                        <a:cubicBezTo>
                          <a:pt x="7" y="14"/>
                          <a:pt x="6" y="15"/>
                          <a:pt x="6" y="15"/>
                        </a:cubicBezTo>
                        <a:cubicBezTo>
                          <a:pt x="5" y="15"/>
                          <a:pt x="5" y="15"/>
                          <a:pt x="5" y="15"/>
                        </a:cubicBezTo>
                        <a:cubicBezTo>
                          <a:pt x="4" y="15"/>
                          <a:pt x="4" y="15"/>
                          <a:pt x="3" y="15"/>
                        </a:cubicBezTo>
                        <a:cubicBezTo>
                          <a:pt x="3" y="15"/>
                          <a:pt x="2" y="15"/>
                          <a:pt x="2" y="15"/>
                        </a:cubicBezTo>
                        <a:cubicBezTo>
                          <a:pt x="1" y="16"/>
                          <a:pt x="2" y="15"/>
                          <a:pt x="2" y="14"/>
                        </a:cubicBezTo>
                        <a:cubicBezTo>
                          <a:pt x="1" y="13"/>
                          <a:pt x="1" y="13"/>
                          <a:pt x="1" y="13"/>
                        </a:cubicBezTo>
                        <a:cubicBezTo>
                          <a:pt x="0" y="13"/>
                          <a:pt x="0" y="13"/>
                          <a:pt x="0" y="12"/>
                        </a:cubicBezTo>
                        <a:cubicBezTo>
                          <a:pt x="0" y="11"/>
                          <a:pt x="1" y="12"/>
                          <a:pt x="1" y="11"/>
                        </a:cubicBezTo>
                        <a:cubicBezTo>
                          <a:pt x="1" y="11"/>
                          <a:pt x="1" y="10"/>
                          <a:pt x="2" y="10"/>
                        </a:cubicBezTo>
                        <a:cubicBezTo>
                          <a:pt x="3" y="10"/>
                          <a:pt x="3" y="10"/>
                          <a:pt x="3" y="10"/>
                        </a:cubicBezTo>
                        <a:cubicBezTo>
                          <a:pt x="3" y="10"/>
                          <a:pt x="3" y="9"/>
                          <a:pt x="3" y="9"/>
                        </a:cubicBezTo>
                        <a:cubicBezTo>
                          <a:pt x="3" y="8"/>
                          <a:pt x="4" y="9"/>
                          <a:pt x="4" y="8"/>
                        </a:cubicBezTo>
                        <a:cubicBezTo>
                          <a:pt x="4" y="8"/>
                          <a:pt x="4" y="8"/>
                          <a:pt x="4" y="8"/>
                        </a:cubicBezTo>
                        <a:cubicBezTo>
                          <a:pt x="5" y="7"/>
                          <a:pt x="4" y="7"/>
                          <a:pt x="4" y="7"/>
                        </a:cubicBezTo>
                        <a:cubicBezTo>
                          <a:pt x="4" y="7"/>
                          <a:pt x="5" y="6"/>
                          <a:pt x="4" y="5"/>
                        </a:cubicBezTo>
                        <a:cubicBezTo>
                          <a:pt x="4" y="3"/>
                          <a:pt x="4" y="3"/>
                          <a:pt x="4" y="3"/>
                        </a:cubicBezTo>
                        <a:cubicBezTo>
                          <a:pt x="4" y="2"/>
                          <a:pt x="5" y="2"/>
                          <a:pt x="5" y="2"/>
                        </a:cubicBezTo>
                        <a:cubicBezTo>
                          <a:pt x="6" y="2"/>
                          <a:pt x="7" y="2"/>
                          <a:pt x="7" y="2"/>
                        </a:cubicBezTo>
                        <a:cubicBezTo>
                          <a:pt x="7" y="2"/>
                          <a:pt x="8" y="1"/>
                          <a:pt x="8" y="1"/>
                        </a:cubicBezTo>
                        <a:cubicBezTo>
                          <a:pt x="9" y="0"/>
                          <a:pt x="10" y="1"/>
                          <a:pt x="10" y="1"/>
                        </a:cubicBezTo>
                        <a:close/>
                      </a:path>
                    </a:pathLst>
                  </a:custGeom>
                  <a:solidFill>
                    <a:srgbClr val="68CEF2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121" name="Oval 120">
                  <a:extLst>
                    <a:ext uri="{FF2B5EF4-FFF2-40B4-BE49-F238E27FC236}">
                      <a16:creationId xmlns:a16="http://schemas.microsoft.com/office/drawing/2014/main" xmlns="" id="{03DD1046-CA95-4697-B45C-38B65916EEEE}"/>
                    </a:ext>
                  </a:extLst>
                </p:cNvPr>
                <p:cNvSpPr/>
                <p:nvPr/>
              </p:nvSpPr>
              <p:spPr>
                <a:xfrm>
                  <a:off x="6004560" y="2270761"/>
                  <a:ext cx="61265" cy="61265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xmlns="" id="{327809EA-3D2F-4C8A-9F80-069D6F3244EC}"/>
                    </a:ext>
                  </a:extLst>
                </p:cNvPr>
                <p:cNvSpPr/>
                <p:nvPr/>
              </p:nvSpPr>
              <p:spPr>
                <a:xfrm>
                  <a:off x="6553200" y="2819400"/>
                  <a:ext cx="61265" cy="61265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Oval 122">
                  <a:extLst>
                    <a:ext uri="{FF2B5EF4-FFF2-40B4-BE49-F238E27FC236}">
                      <a16:creationId xmlns:a16="http://schemas.microsoft.com/office/drawing/2014/main" xmlns="" id="{FF010175-51DA-40FB-B55A-A40B8BBB6F96}"/>
                    </a:ext>
                  </a:extLst>
                </p:cNvPr>
                <p:cNvSpPr/>
                <p:nvPr/>
              </p:nvSpPr>
              <p:spPr>
                <a:xfrm>
                  <a:off x="7299960" y="3124200"/>
                  <a:ext cx="61265" cy="61265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Oval 123">
                  <a:extLst>
                    <a:ext uri="{FF2B5EF4-FFF2-40B4-BE49-F238E27FC236}">
                      <a16:creationId xmlns:a16="http://schemas.microsoft.com/office/drawing/2014/main" xmlns="" id="{557C90BC-7852-48AA-8D64-F38C5BB2274F}"/>
                    </a:ext>
                  </a:extLst>
                </p:cNvPr>
                <p:cNvSpPr/>
                <p:nvPr/>
              </p:nvSpPr>
              <p:spPr>
                <a:xfrm>
                  <a:off x="7315200" y="3813842"/>
                  <a:ext cx="61265" cy="61265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xmlns="" id="{7E7C7682-DFA5-48A7-956D-54BF898F2A6C}"/>
                  </a:ext>
                </a:extLst>
              </p:cNvPr>
              <p:cNvSpPr/>
              <p:nvPr/>
            </p:nvSpPr>
            <p:spPr>
              <a:xfrm>
                <a:off x="3611879" y="5105399"/>
                <a:ext cx="81687" cy="74539"/>
              </a:xfrm>
              <a:prstGeom prst="ellipse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xmlns="" id="{B58ACB70-8511-4EEC-A3D1-78B7046055CC}"/>
                </a:ext>
              </a:extLst>
            </p:cNvPr>
            <p:cNvSpPr/>
            <p:nvPr/>
          </p:nvSpPr>
          <p:spPr bwMode="auto">
            <a:xfrm>
              <a:off x="2309050" y="1626678"/>
              <a:ext cx="1280160" cy="411480"/>
            </a:xfrm>
            <a:prstGeom prst="rect">
              <a:avLst/>
            </a:prstGeom>
            <a:blipFill>
              <a:blip r:embed="rId4">
                <a:alphaModFix amt="64000"/>
              </a:blip>
              <a:tile tx="0" ty="0" sx="100000" sy="100000" flip="none" algn="tl"/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just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i="0" u="none" strike="noStrike" cap="none" normalizeH="0" baseline="0" dirty="0">
                  <a:solidFill>
                    <a:schemeClr val="tx1"/>
                  </a:solidFill>
                  <a:effectLst/>
                  <a:latin typeface="Arial" charset="0"/>
                </a:rPr>
                <a:t>Ludhiana – Fully </a:t>
              </a:r>
            </a:p>
            <a:p>
              <a:pPr marL="0" marR="0" indent="0" algn="just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i="0" u="none" strike="noStrike" cap="none" normalizeH="0" baseline="0" dirty="0">
                  <a:solidFill>
                    <a:schemeClr val="tx1"/>
                  </a:solidFill>
                  <a:effectLst/>
                  <a:latin typeface="Arial" charset="0"/>
                </a:rPr>
                <a:t>developed Facility</a:t>
              </a:r>
            </a:p>
          </p:txBody>
        </p:sp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xmlns="" id="{9E8170EA-B898-4FB8-BF1F-5D013A96EC81}"/>
                </a:ext>
              </a:extLst>
            </p:cNvPr>
            <p:cNvSpPr/>
            <p:nvPr/>
          </p:nvSpPr>
          <p:spPr bwMode="auto">
            <a:xfrm>
              <a:off x="3772532" y="2223520"/>
              <a:ext cx="1280160" cy="411480"/>
            </a:xfrm>
            <a:prstGeom prst="rect">
              <a:avLst/>
            </a:prstGeom>
            <a:blipFill>
              <a:blip r:embed="rId4">
                <a:alphaModFix amt="64000"/>
              </a:blip>
              <a:tile tx="0" ty="0" sx="100000" sy="100000" flip="none" algn="tl"/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just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i="0" u="none" strike="noStrike" cap="none" normalizeH="0" baseline="0" dirty="0">
                  <a:solidFill>
                    <a:schemeClr val="tx1"/>
                  </a:solidFill>
                  <a:effectLst/>
                  <a:latin typeface="Arial" charset="0"/>
                </a:rPr>
                <a:t>Kanpur – Fully </a:t>
              </a:r>
            </a:p>
            <a:p>
              <a:pPr marL="0" marR="0" indent="0" algn="just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i="0" u="none" strike="noStrike" cap="none" normalizeH="0" baseline="0" dirty="0">
                  <a:solidFill>
                    <a:schemeClr val="tx1"/>
                  </a:solidFill>
                  <a:effectLst/>
                  <a:latin typeface="Arial" charset="0"/>
                </a:rPr>
                <a:t>developed Facility</a:t>
              </a:r>
            </a:p>
          </p:txBody>
        </p:sp>
        <p:sp>
          <p:nvSpPr>
            <p:cNvPr id="301" name="Rectangle 300">
              <a:extLst>
                <a:ext uri="{FF2B5EF4-FFF2-40B4-BE49-F238E27FC236}">
                  <a16:creationId xmlns:a16="http://schemas.microsoft.com/office/drawing/2014/main" xmlns="" id="{94943EC4-C11B-45D2-9955-7B81EF7E5FF0}"/>
                </a:ext>
              </a:extLst>
            </p:cNvPr>
            <p:cNvSpPr/>
            <p:nvPr/>
          </p:nvSpPr>
          <p:spPr bwMode="auto">
            <a:xfrm>
              <a:off x="3504296" y="3058818"/>
              <a:ext cx="1280160" cy="411480"/>
            </a:xfrm>
            <a:prstGeom prst="rect">
              <a:avLst/>
            </a:prstGeom>
            <a:blipFill>
              <a:blip r:embed="rId4">
                <a:alphaModFix amt="64000"/>
              </a:blip>
              <a:tile tx="0" ty="0" sx="100000" sy="100000" flip="none" algn="tl"/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just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i="0" u="none" strike="noStrike" cap="none" normalizeH="0" baseline="0" dirty="0">
                  <a:solidFill>
                    <a:schemeClr val="tx1"/>
                  </a:solidFill>
                  <a:effectLst/>
                  <a:latin typeface="Arial" charset="0"/>
                </a:rPr>
                <a:t>Patna – Fully </a:t>
              </a:r>
            </a:p>
            <a:p>
              <a:pPr marL="0" marR="0" indent="0" algn="just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i="0" u="none" strike="noStrike" cap="none" normalizeH="0" baseline="0" dirty="0">
                  <a:solidFill>
                    <a:schemeClr val="tx1"/>
                  </a:solidFill>
                  <a:effectLst/>
                  <a:latin typeface="Arial" charset="0"/>
                </a:rPr>
                <a:t>developed Facility</a:t>
              </a:r>
            </a:p>
          </p:txBody>
        </p:sp>
        <p:sp>
          <p:nvSpPr>
            <p:cNvPr id="303" name="Rectangle 302">
              <a:extLst>
                <a:ext uri="{FF2B5EF4-FFF2-40B4-BE49-F238E27FC236}">
                  <a16:creationId xmlns:a16="http://schemas.microsoft.com/office/drawing/2014/main" xmlns="" id="{CC6220DB-CD9F-4B4C-8F47-2F251EA4444E}"/>
                </a:ext>
              </a:extLst>
            </p:cNvPr>
            <p:cNvSpPr/>
            <p:nvPr/>
          </p:nvSpPr>
          <p:spPr bwMode="auto">
            <a:xfrm>
              <a:off x="4805033" y="3931376"/>
              <a:ext cx="1417320" cy="411480"/>
            </a:xfrm>
            <a:prstGeom prst="rect">
              <a:avLst/>
            </a:prstGeom>
            <a:blipFill>
              <a:blip r:embed="rId5">
                <a:alphaModFix amt="64000"/>
              </a:blip>
              <a:tile tx="0" ty="0" sx="100000" sy="100000" flip="none" algn="tl"/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just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i="0" u="none" strike="noStrike" cap="none" normalizeH="0" baseline="0" dirty="0">
                  <a:solidFill>
                    <a:schemeClr val="tx1"/>
                  </a:solidFill>
                  <a:effectLst/>
                  <a:latin typeface="Arial" charset="0"/>
                </a:rPr>
                <a:t>Cuttack – Facility </a:t>
              </a:r>
            </a:p>
            <a:p>
              <a:pPr marL="0" marR="0" indent="0" algn="just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i="0" u="none" strike="noStrike" cap="none" normalizeH="0" baseline="0" dirty="0">
                  <a:solidFill>
                    <a:schemeClr val="tx1"/>
                  </a:solidFill>
                  <a:effectLst/>
                  <a:latin typeface="Arial" charset="0"/>
                </a:rPr>
                <a:t>under </a:t>
              </a:r>
              <a:r>
                <a:rPr lang="en-US" sz="1200" dirty="0">
                  <a:latin typeface="Arial" charset="0"/>
                </a:rPr>
                <a:t>development</a:t>
              </a:r>
              <a:endParaRPr kumimoji="0" lang="en-US" sz="1200" i="0" u="none" strike="noStrike" cap="none" normalizeH="0" baseline="0" dirty="0"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xmlns="" id="{65A33253-D395-40A1-9DA2-CFC1A9F9EE52}"/>
                </a:ext>
              </a:extLst>
            </p:cNvPr>
            <p:cNvSpPr/>
            <p:nvPr/>
          </p:nvSpPr>
          <p:spPr bwMode="auto">
            <a:xfrm>
              <a:off x="1986936" y="4832652"/>
              <a:ext cx="1371600" cy="411480"/>
            </a:xfrm>
            <a:prstGeom prst="rect">
              <a:avLst/>
            </a:prstGeom>
            <a:blipFill>
              <a:blip r:embed="rId5">
                <a:alphaModFix amt="64000"/>
              </a:blip>
              <a:tile tx="0" ty="0" sx="100000" sy="100000" flip="none" algn="tl"/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just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latin typeface="Arial" charset="0"/>
                </a:rPr>
                <a:t>Bengaluru – Facility </a:t>
              </a:r>
            </a:p>
            <a:p>
              <a:pPr algn="just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latin typeface="Arial" charset="0"/>
                </a:rPr>
                <a:t>under development</a:t>
              </a:r>
            </a:p>
          </p:txBody>
        </p:sp>
        <p:sp>
          <p:nvSpPr>
            <p:cNvPr id="307" name="Oval 306">
              <a:extLst>
                <a:ext uri="{FF2B5EF4-FFF2-40B4-BE49-F238E27FC236}">
                  <a16:creationId xmlns:a16="http://schemas.microsoft.com/office/drawing/2014/main" xmlns="" id="{7F8CF38C-7E3E-49B2-B7D1-DFE2E4D353B7}"/>
                </a:ext>
              </a:extLst>
            </p:cNvPr>
            <p:cNvSpPr/>
            <p:nvPr/>
          </p:nvSpPr>
          <p:spPr>
            <a:xfrm>
              <a:off x="5206095" y="2914972"/>
              <a:ext cx="68817" cy="68827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2" name="Rectangle 311">
              <a:extLst>
                <a:ext uri="{FF2B5EF4-FFF2-40B4-BE49-F238E27FC236}">
                  <a16:creationId xmlns:a16="http://schemas.microsoft.com/office/drawing/2014/main" xmlns="" id="{ECCE69E0-683D-41CE-AC9A-17E45B6CBAEA}"/>
                </a:ext>
              </a:extLst>
            </p:cNvPr>
            <p:cNvSpPr/>
            <p:nvPr/>
          </p:nvSpPr>
          <p:spPr bwMode="auto">
            <a:xfrm>
              <a:off x="5109057" y="3023735"/>
              <a:ext cx="1325880" cy="407474"/>
            </a:xfrm>
            <a:prstGeom prst="rect">
              <a:avLst/>
            </a:prstGeom>
            <a:blipFill dpi="0" rotWithShape="1">
              <a:blip r:embed="rId5">
                <a:alphaModFix amt="64000"/>
              </a:blip>
              <a:srcRect/>
              <a:tile tx="0" ty="0" sx="100000" sy="100000" flip="none" algn="tl"/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just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latin typeface="Arial" charset="0"/>
                </a:rPr>
                <a:t>Siliguri – Facility </a:t>
              </a:r>
            </a:p>
            <a:p>
              <a:pPr algn="just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latin typeface="Arial" charset="0"/>
                </a:rPr>
                <a:t>under develop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5588968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Key Information - Terminals &amp; Rail Operations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162504" y="946859"/>
            <a:ext cx="8801392" cy="3703142"/>
            <a:chOff x="1063052" y="1279377"/>
            <a:chExt cx="8801392" cy="3703142"/>
          </a:xfrm>
        </p:grpSpPr>
        <p:sp>
          <p:nvSpPr>
            <p:cNvPr id="15" name="Rectangle 4"/>
            <p:cNvSpPr>
              <a:spLocks noChangeArrowheads="1"/>
            </p:cNvSpPr>
            <p:nvPr/>
          </p:nvSpPr>
          <p:spPr bwMode="gray">
            <a:xfrm>
              <a:off x="1075752" y="1972119"/>
              <a:ext cx="1552575" cy="548640"/>
            </a:xfrm>
            <a:prstGeom prst="homePlate">
              <a:avLst/>
            </a:prstGeom>
            <a:solidFill>
              <a:srgbClr val="00A1D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base" latinLnBrk="0" hangingPunct="1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Land Area</a:t>
              </a: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1063052" y="2567332"/>
              <a:ext cx="1552575" cy="548640"/>
            </a:xfrm>
            <a:prstGeom prst="homePlate">
              <a:avLst/>
            </a:prstGeom>
            <a:solidFill>
              <a:srgbClr val="00A1D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base" latinLnBrk="0" hangingPunct="1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Handling Lines</a:t>
              </a:r>
            </a:p>
          </p:txBody>
        </p:sp>
        <p:sp>
          <p:nvSpPr>
            <p:cNvPr id="17" name="Pentagon 16"/>
            <p:cNvSpPr>
              <a:spLocks noChangeArrowheads="1"/>
            </p:cNvSpPr>
            <p:nvPr/>
          </p:nvSpPr>
          <p:spPr bwMode="gray">
            <a:xfrm>
              <a:off x="1063052" y="3176407"/>
              <a:ext cx="1552575" cy="548640"/>
            </a:xfrm>
            <a:prstGeom prst="homePlate">
              <a:avLst/>
            </a:prstGeom>
            <a:solidFill>
              <a:srgbClr val="00A1D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base" latinLnBrk="0" hangingPunct="1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Road Weigh Bridge</a:t>
              </a:r>
            </a:p>
          </p:txBody>
        </p:sp>
        <p:sp>
          <p:nvSpPr>
            <p:cNvPr id="18" name="Pentagon 17"/>
            <p:cNvSpPr>
              <a:spLocks noChangeArrowheads="1"/>
            </p:cNvSpPr>
            <p:nvPr/>
          </p:nvSpPr>
          <p:spPr bwMode="gray">
            <a:xfrm>
              <a:off x="1063052" y="3799335"/>
              <a:ext cx="1552575" cy="548640"/>
            </a:xfrm>
            <a:prstGeom prst="homePlate">
              <a:avLst/>
            </a:prstGeom>
            <a:solidFill>
              <a:srgbClr val="00A1D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base" latinLnBrk="0" hangingPunct="1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Rail-in-motion</a:t>
              </a:r>
              <a:r>
                <a:rPr kumimoji="0" lang="en-US" sz="1400" b="1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 Weigh Bridge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" name="Rectangle 2"/>
            <p:cNvSpPr/>
            <p:nvPr/>
          </p:nvSpPr>
          <p:spPr bwMode="auto">
            <a:xfrm>
              <a:off x="2711457" y="1972119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rgbClr val="FF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latin typeface="Arial" charset="0"/>
                </a:rPr>
                <a:t>~ 45 Acres</a:t>
              </a:r>
            </a:p>
          </p:txBody>
        </p:sp>
        <p:sp>
          <p:nvSpPr>
            <p:cNvPr id="23" name="Rectangle 22"/>
            <p:cNvSpPr/>
            <p:nvPr/>
          </p:nvSpPr>
          <p:spPr bwMode="auto">
            <a:xfrm>
              <a:off x="2711452" y="1279382"/>
              <a:ext cx="1694295" cy="548640"/>
            </a:xfrm>
            <a:prstGeom prst="rect">
              <a:avLst/>
            </a:prstGeom>
            <a:solidFill>
              <a:srgbClr val="FFFF66"/>
            </a:solidFill>
            <a:ln w="9525" cap="flat" cmpd="sng" algn="ctr">
              <a:noFill/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hawapail,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Ludhiana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4498694" y="1279377"/>
              <a:ext cx="1694295" cy="54864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 cap="flat" cmpd="sng" algn="ctr">
              <a:noFill/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Panki</a:t>
              </a:r>
              <a:r>
                <a: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, </a:t>
              </a:r>
              <a:r>
                <a:rPr lang="en-US" sz="1400" dirty="0">
                  <a:latin typeface="Arial" charset="0"/>
                </a:rPr>
                <a:t>K</a:t>
              </a:r>
              <a:r>
                <a: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anpur</a:t>
              </a:r>
            </a:p>
          </p:txBody>
        </p:sp>
        <p:sp>
          <p:nvSpPr>
            <p:cNvPr id="25" name="Rectangle 24"/>
            <p:cNvSpPr/>
            <p:nvPr/>
          </p:nvSpPr>
          <p:spPr bwMode="auto">
            <a:xfrm>
              <a:off x="6285936" y="1279377"/>
              <a:ext cx="1694295" cy="548640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err="1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Bihta</a:t>
              </a:r>
              <a:r>
                <a: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, </a:t>
              </a:r>
              <a:r>
                <a:rPr lang="en-US" sz="1400" dirty="0">
                  <a:latin typeface="Arial" charset="0"/>
                </a:rPr>
                <a:t>Patna</a:t>
              </a: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>
              <a:off x="2725307" y="2581724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rgbClr val="FF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latin typeface="Arial" charset="0"/>
                </a:rPr>
                <a:t>3 lines</a:t>
              </a: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2725309" y="3191326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rgbClr val="FF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tx2"/>
                  </a:solidFill>
                  <a:latin typeface="Arial" charset="0"/>
                </a:rPr>
                <a:t>2 x 100 MT </a:t>
              </a:r>
            </a:p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tx2"/>
                  </a:solidFill>
                  <a:latin typeface="Arial" charset="0"/>
                </a:rPr>
                <a:t>Capacity</a:t>
              </a: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2739159" y="3800931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rgbClr val="FF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tx2"/>
                  </a:solidFill>
                  <a:latin typeface="Arial" charset="0"/>
                </a:rPr>
                <a:t>120 MT Capacity</a:t>
              </a: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4512537" y="1972117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chemeClr val="accent4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latin typeface="Arial" charset="0"/>
                </a:rPr>
                <a:t>~ 27 Acres</a:t>
              </a: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4526387" y="2581722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chemeClr val="accent4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latin typeface="Arial" charset="0"/>
                </a:rPr>
                <a:t>2 lines</a:t>
              </a: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4526389" y="3191324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chemeClr val="accent4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tx2"/>
                  </a:solidFill>
                  <a:latin typeface="Arial" charset="0"/>
                </a:rPr>
                <a:t>1 x 100 MT </a:t>
              </a:r>
            </a:p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tx2"/>
                  </a:solidFill>
                  <a:latin typeface="Arial" charset="0"/>
                </a:rPr>
                <a:t>Capacity</a:t>
              </a:r>
            </a:p>
          </p:txBody>
        </p:sp>
        <p:sp>
          <p:nvSpPr>
            <p:cNvPr id="32" name="Rectangle 31"/>
            <p:cNvSpPr/>
            <p:nvPr/>
          </p:nvSpPr>
          <p:spPr bwMode="auto">
            <a:xfrm>
              <a:off x="4540239" y="3800929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chemeClr val="accent4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tx2"/>
                  </a:solidFill>
                  <a:latin typeface="Arial" charset="0"/>
                </a:rPr>
                <a:t>120 MT Capacity</a:t>
              </a:r>
            </a:p>
          </p:txBody>
        </p:sp>
        <p:sp>
          <p:nvSpPr>
            <p:cNvPr id="33" name="Rectangle 32"/>
            <p:cNvSpPr/>
            <p:nvPr/>
          </p:nvSpPr>
          <p:spPr bwMode="auto">
            <a:xfrm>
              <a:off x="6327493" y="1972117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rgbClr val="FFC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latin typeface="Arial" charset="0"/>
                </a:rPr>
                <a:t>~ 24 Acres</a:t>
              </a: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6341343" y="2581722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rgbClr val="FFC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latin typeface="Arial" charset="0"/>
                </a:rPr>
                <a:t>2 lines</a:t>
              </a: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6341345" y="3191324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rgbClr val="FFC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tx2"/>
                  </a:solidFill>
                  <a:latin typeface="Arial" charset="0"/>
                </a:rPr>
                <a:t>2 x 100 MT </a:t>
              </a:r>
            </a:p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tx2"/>
                  </a:solidFill>
                  <a:latin typeface="Arial" charset="0"/>
                </a:rPr>
                <a:t>Capacity</a:t>
              </a: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6355195" y="3800929"/>
              <a:ext cx="1694295" cy="548640"/>
            </a:xfrm>
            <a:prstGeom prst="rect">
              <a:avLst/>
            </a:prstGeom>
            <a:noFill/>
            <a:ln w="9525" cap="flat" cmpd="sng" algn="ctr">
              <a:solidFill>
                <a:srgbClr val="FFC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tx2"/>
                  </a:solidFill>
                  <a:latin typeface="Arial" charset="0"/>
                </a:rPr>
                <a:t>120 MT Capacity</a:t>
              </a:r>
            </a:p>
          </p:txBody>
        </p:sp>
        <p:sp>
          <p:nvSpPr>
            <p:cNvPr id="37" name="Pentagon 36"/>
            <p:cNvSpPr>
              <a:spLocks noChangeArrowheads="1"/>
            </p:cNvSpPr>
            <p:nvPr/>
          </p:nvSpPr>
          <p:spPr bwMode="gray">
            <a:xfrm>
              <a:off x="1063052" y="4433879"/>
              <a:ext cx="1552575" cy="548640"/>
            </a:xfrm>
            <a:prstGeom prst="homePlate">
              <a:avLst/>
            </a:prstGeom>
            <a:solidFill>
              <a:srgbClr val="00A1DE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base" latinLnBrk="0" hangingPunct="1">
                <a:lnSpc>
                  <a:spcPct val="106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Trailers</a:t>
              </a: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2725305" y="4433879"/>
              <a:ext cx="7139139" cy="548640"/>
            </a:xfrm>
            <a:prstGeom prst="rect">
              <a:avLst/>
            </a:prstGeom>
            <a:noFill/>
            <a:ln w="9525" cap="flat" cmpd="sng" algn="ctr">
              <a:solidFill>
                <a:schemeClr val="accent1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tx2"/>
                  </a:solidFill>
                  <a:latin typeface="Arial" charset="0"/>
                </a:rPr>
                <a:t>~ 300</a:t>
              </a: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424856" y="4848902"/>
            <a:ext cx="8539039" cy="1200329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1600" dirty="0">
                <a:solidFill>
                  <a:srgbClr val="002776"/>
                </a:solidFill>
              </a:rPr>
              <a:t>Pristine Group has Category – I license for Container Train Operation on Indian Railway Network across India (INR 50 crores license)</a:t>
            </a:r>
          </a:p>
          <a:p>
            <a:pPr marL="568325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2776"/>
                </a:solidFill>
              </a:rPr>
              <a:t>Operate our own train across Indian Railway network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E39EE685-5068-4B5E-A3B7-D18D121E5892}"/>
              </a:ext>
            </a:extLst>
          </p:cNvPr>
          <p:cNvSpPr/>
          <p:nvPr/>
        </p:nvSpPr>
        <p:spPr bwMode="auto">
          <a:xfrm>
            <a:off x="7200343" y="946854"/>
            <a:ext cx="1694295" cy="548640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iliguri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E3D493E5-8EF8-41A2-9729-454080F0DD5D}"/>
              </a:ext>
            </a:extLst>
          </p:cNvPr>
          <p:cNvSpPr/>
          <p:nvPr/>
        </p:nvSpPr>
        <p:spPr bwMode="auto">
          <a:xfrm>
            <a:off x="7241900" y="1639594"/>
            <a:ext cx="1694295" cy="548640"/>
          </a:xfrm>
          <a:prstGeom prst="rect">
            <a:avLst/>
          </a:prstGeom>
          <a:noFill/>
          <a:ln w="9525" cap="flat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~ 29 Acr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4CE67FFB-E399-4B81-B7DD-569D216EBAEA}"/>
              </a:ext>
            </a:extLst>
          </p:cNvPr>
          <p:cNvSpPr/>
          <p:nvPr/>
        </p:nvSpPr>
        <p:spPr bwMode="auto">
          <a:xfrm>
            <a:off x="7255750" y="2249199"/>
            <a:ext cx="1694295" cy="548640"/>
          </a:xfrm>
          <a:prstGeom prst="rect">
            <a:avLst/>
          </a:prstGeom>
          <a:noFill/>
          <a:ln w="9525" cap="flat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Arial" charset="0"/>
              </a:rPr>
              <a:t>1 line*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209E86BE-7633-4A66-BF7C-9C64579D97F2}"/>
              </a:ext>
            </a:extLst>
          </p:cNvPr>
          <p:cNvSpPr/>
          <p:nvPr/>
        </p:nvSpPr>
        <p:spPr bwMode="auto">
          <a:xfrm>
            <a:off x="7255752" y="2858801"/>
            <a:ext cx="1694295" cy="548640"/>
          </a:xfrm>
          <a:prstGeom prst="rect">
            <a:avLst/>
          </a:prstGeom>
          <a:noFill/>
          <a:ln w="9525" cap="flat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tx2"/>
                </a:solidFill>
                <a:latin typeface="Arial" charset="0"/>
              </a:rPr>
              <a:t>1 x 100 MT 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tx2"/>
                </a:solidFill>
                <a:latin typeface="Arial" charset="0"/>
              </a:rPr>
              <a:t>Capacity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2F615282-A516-4576-9D62-9512B364926E}"/>
              </a:ext>
            </a:extLst>
          </p:cNvPr>
          <p:cNvSpPr/>
          <p:nvPr/>
        </p:nvSpPr>
        <p:spPr bwMode="auto">
          <a:xfrm>
            <a:off x="7269602" y="3468406"/>
            <a:ext cx="1694295" cy="548640"/>
          </a:xfrm>
          <a:prstGeom prst="rect">
            <a:avLst/>
          </a:prstGeom>
          <a:noFill/>
          <a:ln w="9525" cap="flat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tx2"/>
                </a:solidFill>
                <a:latin typeface="Arial" charset="0"/>
              </a:rPr>
              <a:t>120 MT Capacity</a:t>
            </a:r>
          </a:p>
        </p:txBody>
      </p:sp>
    </p:spTree>
    <p:extLst>
      <p:ext uri="{BB962C8B-B14F-4D97-AF65-F5344CB8AC3E}">
        <p14:creationId xmlns:p14="http://schemas.microsoft.com/office/powerpoint/2010/main" xmlns="" val="101107591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95120" y="404557"/>
            <a:ext cx="5913120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IN" sz="3600" spc="-470" dirty="0">
                <a:latin typeface="Arial"/>
                <a:cs typeface="Arial"/>
              </a:rPr>
              <a:t>I</a:t>
            </a:r>
            <a:r>
              <a:rPr lang="en-IN" sz="3600" dirty="0"/>
              <a:t>nland </a:t>
            </a:r>
            <a:r>
              <a:rPr sz="3600" dirty="0"/>
              <a:t>C</a:t>
            </a:r>
            <a:r>
              <a:rPr lang="en-IN" sz="3600" dirty="0" err="1"/>
              <a:t>ontainer</a:t>
            </a:r>
            <a:r>
              <a:rPr lang="en-IN" sz="3600" dirty="0"/>
              <a:t> </a:t>
            </a:r>
            <a:r>
              <a:rPr sz="3600" dirty="0"/>
              <a:t>D</a:t>
            </a:r>
            <a:r>
              <a:rPr lang="en-IN" sz="3600" dirty="0" err="1"/>
              <a:t>epot</a:t>
            </a:r>
            <a:endParaRPr sz="3600" dirty="0"/>
          </a:p>
        </p:txBody>
      </p:sp>
      <p:sp>
        <p:nvSpPr>
          <p:cNvPr id="3" name="object 3"/>
          <p:cNvSpPr txBox="1"/>
          <p:nvPr/>
        </p:nvSpPr>
        <p:spPr>
          <a:xfrm>
            <a:off x="535940" y="1526794"/>
            <a:ext cx="7785100" cy="4270400"/>
          </a:xfrm>
          <a:prstGeom prst="rect">
            <a:avLst/>
          </a:prstGeom>
        </p:spPr>
        <p:txBody>
          <a:bodyPr vert="horz" wrap="square" lIns="0" tIns="104140" rIns="0" bIns="0" rtlCol="0">
            <a:spAutoFit/>
          </a:bodyPr>
          <a:lstStyle/>
          <a:p>
            <a:pPr marL="355600" marR="5080" indent="-342900">
              <a:lnSpc>
                <a:spcPct val="80000"/>
              </a:lnSpc>
              <a:spcBef>
                <a:spcPts val="820"/>
              </a:spcBef>
              <a:buFont typeface="Wingdings"/>
              <a:buChar char=""/>
              <a:tabLst>
                <a:tab pos="355600" algn="l"/>
              </a:tabLst>
            </a:pPr>
            <a:r>
              <a:rPr sz="3000" spc="-270" dirty="0">
                <a:latin typeface="Arial"/>
                <a:cs typeface="Arial"/>
              </a:rPr>
              <a:t>A </a:t>
            </a:r>
            <a:r>
              <a:rPr sz="3000" spc="-125" dirty="0">
                <a:latin typeface="Arial"/>
                <a:cs typeface="Arial"/>
              </a:rPr>
              <a:t>common </a:t>
            </a:r>
            <a:r>
              <a:rPr sz="3000" spc="-145" dirty="0">
                <a:latin typeface="Arial"/>
                <a:cs typeface="Arial"/>
              </a:rPr>
              <a:t>user </a:t>
            </a:r>
            <a:r>
              <a:rPr sz="3000" spc="-50" dirty="0">
                <a:latin typeface="Arial"/>
                <a:cs typeface="Arial"/>
              </a:rPr>
              <a:t>facility </a:t>
            </a:r>
            <a:r>
              <a:rPr sz="3000" spc="15" dirty="0">
                <a:latin typeface="Arial"/>
                <a:cs typeface="Arial"/>
              </a:rPr>
              <a:t>with </a:t>
            </a:r>
            <a:r>
              <a:rPr sz="3000" spc="-85" dirty="0">
                <a:latin typeface="Arial"/>
                <a:cs typeface="Arial"/>
              </a:rPr>
              <a:t>public </a:t>
            </a:r>
            <a:r>
              <a:rPr sz="3000" spc="-30" dirty="0">
                <a:latin typeface="Arial"/>
                <a:cs typeface="Arial"/>
              </a:rPr>
              <a:t>authority  </a:t>
            </a:r>
            <a:r>
              <a:rPr sz="3000" spc="-125" dirty="0">
                <a:latin typeface="Arial"/>
                <a:cs typeface="Arial"/>
              </a:rPr>
              <a:t>status </a:t>
            </a:r>
            <a:r>
              <a:rPr sz="3000" spc="-110" dirty="0">
                <a:latin typeface="Arial"/>
                <a:cs typeface="Arial"/>
              </a:rPr>
              <a:t>equipped </a:t>
            </a:r>
            <a:r>
              <a:rPr sz="3000" spc="20" dirty="0">
                <a:latin typeface="Arial"/>
                <a:cs typeface="Arial"/>
              </a:rPr>
              <a:t>with </a:t>
            </a:r>
            <a:r>
              <a:rPr sz="3000" spc="-95" dirty="0">
                <a:latin typeface="Arial"/>
                <a:cs typeface="Arial"/>
              </a:rPr>
              <a:t>fixed </a:t>
            </a:r>
            <a:r>
              <a:rPr sz="3000" spc="-85" dirty="0">
                <a:latin typeface="Arial"/>
                <a:cs typeface="Arial"/>
              </a:rPr>
              <a:t>installations </a:t>
            </a:r>
            <a:r>
              <a:rPr sz="3000" spc="-140" dirty="0">
                <a:latin typeface="Arial"/>
                <a:cs typeface="Arial"/>
              </a:rPr>
              <a:t>and  </a:t>
            </a:r>
            <a:r>
              <a:rPr sz="3000" spc="-65" dirty="0">
                <a:latin typeface="Arial"/>
                <a:cs typeface="Arial"/>
              </a:rPr>
              <a:t>offering </a:t>
            </a:r>
            <a:r>
              <a:rPr sz="3000" spc="-170" dirty="0">
                <a:latin typeface="Arial"/>
                <a:cs typeface="Arial"/>
              </a:rPr>
              <a:t>services </a:t>
            </a:r>
            <a:r>
              <a:rPr sz="3000" spc="-15" dirty="0">
                <a:latin typeface="Arial"/>
                <a:cs typeface="Arial"/>
              </a:rPr>
              <a:t>for </a:t>
            </a:r>
            <a:r>
              <a:rPr sz="3000" spc="-110" dirty="0">
                <a:latin typeface="Arial"/>
                <a:cs typeface="Arial"/>
              </a:rPr>
              <a:t>handling </a:t>
            </a:r>
            <a:r>
              <a:rPr sz="3000" spc="-140" dirty="0">
                <a:latin typeface="Arial"/>
                <a:cs typeface="Arial"/>
              </a:rPr>
              <a:t>and </a:t>
            </a:r>
            <a:r>
              <a:rPr sz="3000" spc="-75" dirty="0">
                <a:latin typeface="Arial"/>
                <a:cs typeface="Arial"/>
              </a:rPr>
              <a:t>temporary  </a:t>
            </a:r>
            <a:r>
              <a:rPr sz="3000" spc="-145" dirty="0">
                <a:latin typeface="Arial"/>
                <a:cs typeface="Arial"/>
              </a:rPr>
              <a:t>storage </a:t>
            </a:r>
            <a:r>
              <a:rPr sz="3000" spc="-5" dirty="0">
                <a:latin typeface="Arial"/>
                <a:cs typeface="Arial"/>
              </a:rPr>
              <a:t>of </a:t>
            </a:r>
            <a:r>
              <a:rPr sz="3000" spc="-15" dirty="0">
                <a:latin typeface="Arial"/>
                <a:cs typeface="Arial"/>
              </a:rPr>
              <a:t>import/export </a:t>
            </a:r>
            <a:r>
              <a:rPr sz="3000" spc="-120" dirty="0">
                <a:latin typeface="Arial"/>
                <a:cs typeface="Arial"/>
              </a:rPr>
              <a:t>laden </a:t>
            </a:r>
            <a:r>
              <a:rPr sz="3000" spc="-140" dirty="0">
                <a:latin typeface="Arial"/>
                <a:cs typeface="Arial"/>
              </a:rPr>
              <a:t>and </a:t>
            </a:r>
            <a:r>
              <a:rPr sz="3000" spc="-75" dirty="0">
                <a:latin typeface="Arial"/>
                <a:cs typeface="Arial"/>
              </a:rPr>
              <a:t>empty  </a:t>
            </a:r>
            <a:r>
              <a:rPr sz="3000" spc="-120" dirty="0">
                <a:latin typeface="Arial"/>
                <a:cs typeface="Arial"/>
              </a:rPr>
              <a:t>containers </a:t>
            </a:r>
            <a:r>
              <a:rPr sz="3000" spc="-95" dirty="0">
                <a:latin typeface="Arial"/>
                <a:cs typeface="Arial"/>
              </a:rPr>
              <a:t>carried </a:t>
            </a:r>
            <a:r>
              <a:rPr sz="3000" spc="-90" dirty="0">
                <a:latin typeface="Arial"/>
                <a:cs typeface="Arial"/>
              </a:rPr>
              <a:t>under </a:t>
            </a:r>
            <a:r>
              <a:rPr sz="3000" spc="-155" dirty="0">
                <a:latin typeface="Arial"/>
                <a:cs typeface="Arial"/>
              </a:rPr>
              <a:t>customs </a:t>
            </a:r>
            <a:r>
              <a:rPr sz="3000" spc="-55" dirty="0">
                <a:latin typeface="Arial"/>
                <a:cs typeface="Arial"/>
              </a:rPr>
              <a:t>control</a:t>
            </a:r>
            <a:r>
              <a:rPr lang="en-IN" sz="3000" spc="-55" dirty="0">
                <a:latin typeface="Arial"/>
                <a:cs typeface="Arial"/>
              </a:rPr>
              <a:t>.</a:t>
            </a:r>
          </a:p>
          <a:p>
            <a:pPr marL="355600" marR="5080" indent="-342900">
              <a:lnSpc>
                <a:spcPct val="80000"/>
              </a:lnSpc>
              <a:spcBef>
                <a:spcPts val="820"/>
              </a:spcBef>
              <a:buFont typeface="Wingdings"/>
              <a:buChar char=""/>
              <a:tabLst>
                <a:tab pos="355600" algn="l"/>
              </a:tabLst>
            </a:pPr>
            <a:r>
              <a:rPr lang="en-IN" sz="3000" spc="-55" dirty="0">
                <a:latin typeface="Arial"/>
                <a:cs typeface="Arial"/>
              </a:rPr>
              <a:t>Houses</a:t>
            </a:r>
            <a:r>
              <a:rPr sz="3000" spc="15" dirty="0">
                <a:latin typeface="Arial"/>
                <a:cs typeface="Arial"/>
              </a:rPr>
              <a:t> </a:t>
            </a:r>
            <a:r>
              <a:rPr sz="3000" spc="-204" dirty="0">
                <a:latin typeface="Arial"/>
                <a:cs typeface="Arial"/>
              </a:rPr>
              <a:t>Customs </a:t>
            </a:r>
            <a:r>
              <a:rPr sz="3000" spc="-140" dirty="0">
                <a:latin typeface="Arial"/>
                <a:cs typeface="Arial"/>
              </a:rPr>
              <a:t>and </a:t>
            </a:r>
            <a:r>
              <a:rPr sz="3000" spc="-35" dirty="0">
                <a:latin typeface="Arial"/>
                <a:cs typeface="Arial"/>
              </a:rPr>
              <a:t>other </a:t>
            </a:r>
            <a:r>
              <a:rPr sz="3000" spc="-190" dirty="0">
                <a:latin typeface="Arial"/>
                <a:cs typeface="Arial"/>
              </a:rPr>
              <a:t>agencies </a:t>
            </a:r>
            <a:r>
              <a:rPr sz="3000" spc="-85" dirty="0">
                <a:latin typeface="Arial"/>
                <a:cs typeface="Arial"/>
              </a:rPr>
              <a:t>competent </a:t>
            </a:r>
            <a:r>
              <a:rPr sz="3000" spc="30" dirty="0">
                <a:latin typeface="Arial"/>
                <a:cs typeface="Arial"/>
              </a:rPr>
              <a:t>to </a:t>
            </a:r>
            <a:r>
              <a:rPr sz="3000" spc="-120" dirty="0">
                <a:latin typeface="Arial"/>
                <a:cs typeface="Arial"/>
              </a:rPr>
              <a:t>clear </a:t>
            </a:r>
            <a:r>
              <a:rPr sz="3000" spc="-180" dirty="0">
                <a:latin typeface="Arial"/>
                <a:cs typeface="Arial"/>
              </a:rPr>
              <a:t>goods </a:t>
            </a:r>
            <a:r>
              <a:rPr sz="3000" spc="-10" dirty="0">
                <a:latin typeface="Arial"/>
                <a:cs typeface="Arial"/>
              </a:rPr>
              <a:t>for </a:t>
            </a:r>
            <a:r>
              <a:rPr sz="3000" spc="-120" dirty="0">
                <a:latin typeface="Arial"/>
                <a:cs typeface="Arial"/>
              </a:rPr>
              <a:t>home </a:t>
            </a:r>
            <a:r>
              <a:rPr sz="3000" spc="-175" dirty="0">
                <a:latin typeface="Arial"/>
                <a:cs typeface="Arial"/>
              </a:rPr>
              <a:t>use, </a:t>
            </a:r>
            <a:r>
              <a:rPr sz="3000" spc="-125" dirty="0">
                <a:latin typeface="Arial"/>
                <a:cs typeface="Arial"/>
              </a:rPr>
              <a:t>warehousing, </a:t>
            </a:r>
            <a:r>
              <a:rPr sz="3000" spc="-75" dirty="0">
                <a:latin typeface="Arial"/>
                <a:cs typeface="Arial"/>
              </a:rPr>
              <a:t>temporary </a:t>
            </a:r>
            <a:r>
              <a:rPr sz="3000" spc="-150" dirty="0">
                <a:latin typeface="Arial"/>
                <a:cs typeface="Arial"/>
              </a:rPr>
              <a:t>admissions, </a:t>
            </a:r>
            <a:r>
              <a:rPr sz="3000" spc="-75" dirty="0">
                <a:latin typeface="Arial"/>
                <a:cs typeface="Arial"/>
              </a:rPr>
              <a:t>re-export, temporary </a:t>
            </a:r>
            <a:r>
              <a:rPr sz="3000" spc="-145" dirty="0">
                <a:latin typeface="Arial"/>
                <a:cs typeface="Arial"/>
              </a:rPr>
              <a:t>storage </a:t>
            </a:r>
            <a:r>
              <a:rPr sz="3000" spc="-10" dirty="0">
                <a:latin typeface="Arial"/>
                <a:cs typeface="Arial"/>
              </a:rPr>
              <a:t>for </a:t>
            </a:r>
            <a:r>
              <a:rPr sz="3000" spc="-100" dirty="0">
                <a:latin typeface="Arial"/>
                <a:cs typeface="Arial"/>
              </a:rPr>
              <a:t>onward </a:t>
            </a:r>
            <a:r>
              <a:rPr sz="3000" spc="-45" dirty="0">
                <a:latin typeface="Arial"/>
                <a:cs typeface="Arial"/>
              </a:rPr>
              <a:t>transit </a:t>
            </a:r>
            <a:r>
              <a:rPr sz="3000" spc="-140" dirty="0">
                <a:latin typeface="Arial"/>
                <a:cs typeface="Arial"/>
              </a:rPr>
              <a:t>and </a:t>
            </a:r>
            <a:r>
              <a:rPr sz="3000" spc="-25" dirty="0">
                <a:latin typeface="Arial"/>
                <a:cs typeface="Arial"/>
              </a:rPr>
              <a:t>outright </a:t>
            </a:r>
            <a:r>
              <a:rPr sz="3000" spc="-75" dirty="0">
                <a:latin typeface="Arial"/>
                <a:cs typeface="Arial"/>
              </a:rPr>
              <a:t>export. </a:t>
            </a:r>
            <a:r>
              <a:rPr sz="3000" spc="-150" dirty="0">
                <a:latin typeface="Arial"/>
                <a:cs typeface="Arial"/>
              </a:rPr>
              <a:t>Transshipment </a:t>
            </a:r>
            <a:r>
              <a:rPr sz="3000" spc="-5" dirty="0">
                <a:latin typeface="Arial"/>
                <a:cs typeface="Arial"/>
              </a:rPr>
              <a:t>of </a:t>
            </a:r>
            <a:r>
              <a:rPr sz="3000" spc="-175" dirty="0">
                <a:latin typeface="Arial"/>
                <a:cs typeface="Arial"/>
              </a:rPr>
              <a:t>cargo </a:t>
            </a:r>
            <a:r>
              <a:rPr sz="3000" spc="-195" dirty="0">
                <a:latin typeface="Arial"/>
                <a:cs typeface="Arial"/>
              </a:rPr>
              <a:t>can </a:t>
            </a:r>
            <a:r>
              <a:rPr sz="3000" spc="-160" dirty="0">
                <a:latin typeface="Arial"/>
                <a:cs typeface="Arial"/>
              </a:rPr>
              <a:t>also </a:t>
            </a:r>
            <a:r>
              <a:rPr sz="3000" spc="-125" dirty="0">
                <a:latin typeface="Arial"/>
                <a:cs typeface="Arial"/>
              </a:rPr>
              <a:t>take </a:t>
            </a:r>
            <a:r>
              <a:rPr sz="3000" spc="-150" dirty="0">
                <a:latin typeface="Arial"/>
                <a:cs typeface="Arial"/>
              </a:rPr>
              <a:t>place</a:t>
            </a:r>
            <a:r>
              <a:rPr sz="3000" spc="-370" dirty="0">
                <a:latin typeface="Arial"/>
                <a:cs typeface="Arial"/>
              </a:rPr>
              <a:t> </a:t>
            </a:r>
            <a:r>
              <a:rPr sz="3000" spc="-35" dirty="0">
                <a:latin typeface="Arial"/>
                <a:cs typeface="Arial"/>
              </a:rPr>
              <a:t>from </a:t>
            </a:r>
            <a:r>
              <a:rPr sz="3000" spc="-190" dirty="0">
                <a:latin typeface="Arial"/>
                <a:cs typeface="Arial"/>
              </a:rPr>
              <a:t>such</a:t>
            </a:r>
            <a:r>
              <a:rPr sz="3000" spc="-185" dirty="0">
                <a:latin typeface="Arial"/>
                <a:cs typeface="Arial"/>
              </a:rPr>
              <a:t> </a:t>
            </a:r>
            <a:r>
              <a:rPr sz="3000" spc="-100" dirty="0">
                <a:latin typeface="Arial"/>
                <a:cs typeface="Arial"/>
              </a:rPr>
              <a:t>stations.</a:t>
            </a:r>
            <a:endParaRPr sz="3000" dirty="0">
              <a:latin typeface="Arial"/>
              <a:cs typeface="Arial"/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92248" y="496646"/>
            <a:ext cx="5156835" cy="6350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235" dirty="0"/>
              <a:t>Primary </a:t>
            </a:r>
            <a:r>
              <a:rPr spc="-215" dirty="0"/>
              <a:t>functions </a:t>
            </a:r>
            <a:r>
              <a:rPr spc="-165" dirty="0"/>
              <a:t>of</a:t>
            </a:r>
            <a:r>
              <a:rPr spc="-480" dirty="0"/>
              <a:t> </a:t>
            </a:r>
            <a:r>
              <a:rPr spc="-145" dirty="0"/>
              <a:t>ICD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35940" y="1517610"/>
            <a:ext cx="7614920" cy="4461510"/>
          </a:xfrm>
          <a:prstGeom prst="rect">
            <a:avLst/>
          </a:prstGeom>
        </p:spPr>
        <p:txBody>
          <a:bodyPr vert="horz" wrap="square" lIns="0" tIns="58419" rIns="0" bIns="0" rtlCol="0">
            <a:spAutoFit/>
          </a:bodyPr>
          <a:lstStyle/>
          <a:p>
            <a:pPr marL="355600" indent="-342900">
              <a:lnSpc>
                <a:spcPct val="100000"/>
              </a:lnSpc>
              <a:spcBef>
                <a:spcPts val="459"/>
              </a:spcBef>
              <a:buFont typeface="Wingdings"/>
              <a:buChar char=""/>
              <a:tabLst>
                <a:tab pos="355600" algn="l"/>
              </a:tabLst>
            </a:pPr>
            <a:r>
              <a:rPr sz="3000" b="1" spc="-200" dirty="0">
                <a:latin typeface="Trebuchet MS"/>
                <a:cs typeface="Trebuchet MS"/>
              </a:rPr>
              <a:t>Receipt </a:t>
            </a:r>
            <a:r>
              <a:rPr sz="3000" b="1" spc="-145" dirty="0">
                <a:latin typeface="Trebuchet MS"/>
                <a:cs typeface="Trebuchet MS"/>
              </a:rPr>
              <a:t>and </a:t>
            </a:r>
            <a:r>
              <a:rPr sz="3000" b="1" spc="-160" dirty="0">
                <a:latin typeface="Trebuchet MS"/>
                <a:cs typeface="Trebuchet MS"/>
              </a:rPr>
              <a:t>dispatch/delivery </a:t>
            </a:r>
            <a:r>
              <a:rPr sz="3000" b="1" spc="-125" dirty="0">
                <a:latin typeface="Trebuchet MS"/>
                <a:cs typeface="Trebuchet MS"/>
              </a:rPr>
              <a:t>of</a:t>
            </a:r>
            <a:r>
              <a:rPr sz="3000" b="1" spc="-405" dirty="0">
                <a:latin typeface="Trebuchet MS"/>
                <a:cs typeface="Trebuchet MS"/>
              </a:rPr>
              <a:t> </a:t>
            </a:r>
            <a:r>
              <a:rPr sz="3000" b="1" spc="-195" dirty="0">
                <a:latin typeface="Trebuchet MS"/>
                <a:cs typeface="Trebuchet MS"/>
              </a:rPr>
              <a:t>cargo.</a:t>
            </a:r>
            <a:endParaRPr sz="3000" dirty="0">
              <a:latin typeface="Trebuchet MS"/>
              <a:cs typeface="Trebuchet MS"/>
            </a:endParaRPr>
          </a:p>
          <a:p>
            <a:pPr marL="355600" indent="-342900">
              <a:lnSpc>
                <a:spcPct val="100000"/>
              </a:lnSpc>
              <a:spcBef>
                <a:spcPts val="360"/>
              </a:spcBef>
              <a:buFont typeface="Wingdings"/>
              <a:buChar char=""/>
              <a:tabLst>
                <a:tab pos="355600" algn="l"/>
              </a:tabLst>
            </a:pPr>
            <a:r>
              <a:rPr sz="3000" b="1" spc="-145" dirty="0">
                <a:latin typeface="Trebuchet MS"/>
                <a:cs typeface="Trebuchet MS"/>
              </a:rPr>
              <a:t>Stuffing and </a:t>
            </a:r>
            <a:r>
              <a:rPr sz="3000" b="1" spc="-155" dirty="0">
                <a:latin typeface="Trebuchet MS"/>
                <a:cs typeface="Trebuchet MS"/>
              </a:rPr>
              <a:t>stripping </a:t>
            </a:r>
            <a:r>
              <a:rPr sz="3000" b="1" spc="-125" dirty="0">
                <a:latin typeface="Trebuchet MS"/>
                <a:cs typeface="Trebuchet MS"/>
              </a:rPr>
              <a:t>of</a:t>
            </a:r>
            <a:r>
              <a:rPr sz="3000" b="1" spc="-450" dirty="0">
                <a:latin typeface="Trebuchet MS"/>
                <a:cs typeface="Trebuchet MS"/>
              </a:rPr>
              <a:t> </a:t>
            </a:r>
            <a:r>
              <a:rPr sz="3000" b="1" spc="-190" dirty="0">
                <a:latin typeface="Trebuchet MS"/>
                <a:cs typeface="Trebuchet MS"/>
              </a:rPr>
              <a:t>containers.</a:t>
            </a:r>
            <a:endParaRPr sz="3000" dirty="0">
              <a:latin typeface="Trebuchet MS"/>
              <a:cs typeface="Trebuchet MS"/>
            </a:endParaRPr>
          </a:p>
          <a:p>
            <a:pPr marL="355600" marR="501015" indent="-342900">
              <a:lnSpc>
                <a:spcPts val="3240"/>
              </a:lnSpc>
              <a:spcBef>
                <a:spcPts val="770"/>
              </a:spcBef>
              <a:buFont typeface="Wingdings"/>
              <a:buChar char=""/>
              <a:tabLst>
                <a:tab pos="355600" algn="l"/>
              </a:tabLst>
            </a:pPr>
            <a:r>
              <a:rPr sz="3000" b="1" spc="-215" dirty="0">
                <a:latin typeface="Trebuchet MS"/>
                <a:cs typeface="Trebuchet MS"/>
              </a:rPr>
              <a:t>Transit </a:t>
            </a:r>
            <a:r>
              <a:rPr sz="3000" b="1" spc="-155" dirty="0">
                <a:latin typeface="Trebuchet MS"/>
                <a:cs typeface="Trebuchet MS"/>
              </a:rPr>
              <a:t>operations </a:t>
            </a:r>
            <a:r>
              <a:rPr sz="3000" b="1" spc="-170" dirty="0">
                <a:latin typeface="Trebuchet MS"/>
                <a:cs typeface="Trebuchet MS"/>
              </a:rPr>
              <a:t>by </a:t>
            </a:r>
            <a:r>
              <a:rPr sz="3000" b="1" spc="-135" dirty="0">
                <a:latin typeface="Trebuchet MS"/>
                <a:cs typeface="Trebuchet MS"/>
              </a:rPr>
              <a:t>rail/road </a:t>
            </a:r>
            <a:r>
              <a:rPr sz="3000" b="1" spc="-130" dirty="0">
                <a:latin typeface="Trebuchet MS"/>
                <a:cs typeface="Trebuchet MS"/>
              </a:rPr>
              <a:t>to </a:t>
            </a:r>
            <a:r>
              <a:rPr sz="3000" b="1" spc="-145" dirty="0">
                <a:latin typeface="Trebuchet MS"/>
                <a:cs typeface="Trebuchet MS"/>
              </a:rPr>
              <a:t>and</a:t>
            </a:r>
            <a:r>
              <a:rPr sz="3000" b="1" spc="-610" dirty="0">
                <a:latin typeface="Trebuchet MS"/>
                <a:cs typeface="Trebuchet MS"/>
              </a:rPr>
              <a:t> </a:t>
            </a:r>
            <a:r>
              <a:rPr sz="3000" b="1" spc="-160" dirty="0">
                <a:latin typeface="Trebuchet MS"/>
                <a:cs typeface="Trebuchet MS"/>
              </a:rPr>
              <a:t>from  </a:t>
            </a:r>
            <a:r>
              <a:rPr sz="3000" b="1" spc="-155" dirty="0">
                <a:latin typeface="Trebuchet MS"/>
                <a:cs typeface="Trebuchet MS"/>
              </a:rPr>
              <a:t>serving</a:t>
            </a:r>
            <a:r>
              <a:rPr sz="3000" b="1" spc="-235" dirty="0">
                <a:latin typeface="Trebuchet MS"/>
                <a:cs typeface="Trebuchet MS"/>
              </a:rPr>
              <a:t> </a:t>
            </a:r>
            <a:r>
              <a:rPr sz="3000" b="1" spc="-170" dirty="0">
                <a:latin typeface="Trebuchet MS"/>
                <a:cs typeface="Trebuchet MS"/>
              </a:rPr>
              <a:t>ports.</a:t>
            </a:r>
            <a:endParaRPr sz="3000" dirty="0">
              <a:latin typeface="Trebuchet MS"/>
              <a:cs typeface="Trebuchet MS"/>
            </a:endParaRPr>
          </a:p>
          <a:p>
            <a:pPr marL="355600" indent="-342900">
              <a:lnSpc>
                <a:spcPct val="100000"/>
              </a:lnSpc>
              <a:spcBef>
                <a:spcPts val="315"/>
              </a:spcBef>
              <a:buFont typeface="Wingdings"/>
              <a:buChar char=""/>
              <a:tabLst>
                <a:tab pos="355600" algn="l"/>
              </a:tabLst>
            </a:pPr>
            <a:r>
              <a:rPr sz="3000" b="1" spc="-155" dirty="0">
                <a:latin typeface="Trebuchet MS"/>
                <a:cs typeface="Trebuchet MS"/>
              </a:rPr>
              <a:t>Customs</a:t>
            </a:r>
            <a:r>
              <a:rPr sz="3000" b="1" spc="-235" dirty="0">
                <a:latin typeface="Trebuchet MS"/>
                <a:cs typeface="Trebuchet MS"/>
              </a:rPr>
              <a:t> </a:t>
            </a:r>
            <a:r>
              <a:rPr sz="3000" b="1" spc="-215" dirty="0">
                <a:latin typeface="Trebuchet MS"/>
                <a:cs typeface="Trebuchet MS"/>
              </a:rPr>
              <a:t>clearance.</a:t>
            </a:r>
            <a:endParaRPr sz="3000" dirty="0">
              <a:latin typeface="Trebuchet MS"/>
              <a:cs typeface="Trebuchet MS"/>
            </a:endParaRPr>
          </a:p>
          <a:p>
            <a:pPr marL="355600" indent="-342900">
              <a:lnSpc>
                <a:spcPct val="100000"/>
              </a:lnSpc>
              <a:spcBef>
                <a:spcPts val="360"/>
              </a:spcBef>
              <a:buFont typeface="Wingdings"/>
              <a:buChar char=""/>
              <a:tabLst>
                <a:tab pos="355600" algn="l"/>
              </a:tabLst>
            </a:pPr>
            <a:r>
              <a:rPr sz="3000" b="1" spc="-145" dirty="0">
                <a:latin typeface="Trebuchet MS"/>
                <a:cs typeface="Trebuchet MS"/>
              </a:rPr>
              <a:t>Consolidation and </a:t>
            </a:r>
            <a:r>
              <a:rPr sz="3000" b="1" spc="-160" dirty="0">
                <a:latin typeface="Trebuchet MS"/>
                <a:cs typeface="Trebuchet MS"/>
              </a:rPr>
              <a:t>desegregation </a:t>
            </a:r>
            <a:r>
              <a:rPr sz="3000" b="1" spc="-125" dirty="0">
                <a:latin typeface="Trebuchet MS"/>
                <a:cs typeface="Trebuchet MS"/>
              </a:rPr>
              <a:t>of </a:t>
            </a:r>
            <a:r>
              <a:rPr sz="3000" b="1" spc="-360" dirty="0">
                <a:latin typeface="Trebuchet MS"/>
                <a:cs typeface="Trebuchet MS"/>
              </a:rPr>
              <a:t>LCL</a:t>
            </a:r>
            <a:r>
              <a:rPr sz="3000" b="1" spc="-575" dirty="0">
                <a:latin typeface="Trebuchet MS"/>
                <a:cs typeface="Trebuchet MS"/>
              </a:rPr>
              <a:t> </a:t>
            </a:r>
            <a:r>
              <a:rPr sz="3000" b="1" spc="-195" dirty="0">
                <a:latin typeface="Trebuchet MS"/>
                <a:cs typeface="Trebuchet MS"/>
              </a:rPr>
              <a:t>cargo.</a:t>
            </a:r>
            <a:endParaRPr sz="3000" dirty="0">
              <a:latin typeface="Trebuchet MS"/>
              <a:cs typeface="Trebuchet MS"/>
            </a:endParaRPr>
          </a:p>
          <a:p>
            <a:pPr marL="355600" indent="-342900">
              <a:lnSpc>
                <a:spcPct val="100000"/>
              </a:lnSpc>
              <a:spcBef>
                <a:spcPts val="360"/>
              </a:spcBef>
              <a:buFont typeface="Wingdings"/>
              <a:buChar char=""/>
              <a:tabLst>
                <a:tab pos="355600" algn="l"/>
              </a:tabLst>
            </a:pPr>
            <a:r>
              <a:rPr sz="3000" b="1" spc="-225" dirty="0">
                <a:latin typeface="Trebuchet MS"/>
                <a:cs typeface="Trebuchet MS"/>
              </a:rPr>
              <a:t>Temporary </a:t>
            </a:r>
            <a:r>
              <a:rPr sz="3000" b="1" spc="-160" dirty="0">
                <a:latin typeface="Trebuchet MS"/>
                <a:cs typeface="Trebuchet MS"/>
              </a:rPr>
              <a:t>storage </a:t>
            </a:r>
            <a:r>
              <a:rPr sz="3000" b="1" spc="-125" dirty="0">
                <a:latin typeface="Trebuchet MS"/>
                <a:cs typeface="Trebuchet MS"/>
              </a:rPr>
              <a:t>of </a:t>
            </a:r>
            <a:r>
              <a:rPr sz="3000" b="1" spc="-175" dirty="0">
                <a:latin typeface="Trebuchet MS"/>
                <a:cs typeface="Trebuchet MS"/>
              </a:rPr>
              <a:t>cargo </a:t>
            </a:r>
            <a:r>
              <a:rPr sz="3000" b="1" spc="-145" dirty="0">
                <a:latin typeface="Trebuchet MS"/>
                <a:cs typeface="Trebuchet MS"/>
              </a:rPr>
              <a:t>and</a:t>
            </a:r>
            <a:r>
              <a:rPr sz="3000" b="1" spc="-509" dirty="0">
                <a:latin typeface="Trebuchet MS"/>
                <a:cs typeface="Trebuchet MS"/>
              </a:rPr>
              <a:t> </a:t>
            </a:r>
            <a:r>
              <a:rPr sz="3000" b="1" spc="-190" dirty="0">
                <a:latin typeface="Trebuchet MS"/>
                <a:cs typeface="Trebuchet MS"/>
              </a:rPr>
              <a:t>containers.</a:t>
            </a:r>
            <a:endParaRPr sz="3000" dirty="0">
              <a:latin typeface="Trebuchet MS"/>
              <a:cs typeface="Trebuchet MS"/>
            </a:endParaRPr>
          </a:p>
          <a:p>
            <a:pPr marL="355600" indent="-342900">
              <a:lnSpc>
                <a:spcPct val="100000"/>
              </a:lnSpc>
              <a:spcBef>
                <a:spcPts val="360"/>
              </a:spcBef>
              <a:buFont typeface="Wingdings"/>
              <a:buChar char=""/>
              <a:tabLst>
                <a:tab pos="355600" algn="l"/>
              </a:tabLst>
            </a:pPr>
            <a:r>
              <a:rPr sz="3000" b="1" spc="-165" dirty="0">
                <a:latin typeface="Trebuchet MS"/>
                <a:cs typeface="Trebuchet MS"/>
              </a:rPr>
              <a:t>Reworking </a:t>
            </a:r>
            <a:r>
              <a:rPr sz="3000" b="1" spc="-130" dirty="0">
                <a:latin typeface="Trebuchet MS"/>
                <a:cs typeface="Trebuchet MS"/>
              </a:rPr>
              <a:t>of</a:t>
            </a:r>
            <a:r>
              <a:rPr sz="3000" b="1" spc="-295" dirty="0">
                <a:latin typeface="Trebuchet MS"/>
                <a:cs typeface="Trebuchet MS"/>
              </a:rPr>
              <a:t> </a:t>
            </a:r>
            <a:r>
              <a:rPr sz="3000" b="1" spc="-190" dirty="0">
                <a:latin typeface="Trebuchet MS"/>
                <a:cs typeface="Trebuchet MS"/>
              </a:rPr>
              <a:t>containers.</a:t>
            </a:r>
            <a:endParaRPr sz="3000" dirty="0">
              <a:latin typeface="Trebuchet MS"/>
              <a:cs typeface="Trebuchet MS"/>
            </a:endParaRPr>
          </a:p>
          <a:p>
            <a:pPr marL="355600" indent="-342900">
              <a:lnSpc>
                <a:spcPct val="100000"/>
              </a:lnSpc>
              <a:spcBef>
                <a:spcPts val="360"/>
              </a:spcBef>
              <a:buFont typeface="Wingdings"/>
              <a:buChar char=""/>
              <a:tabLst>
                <a:tab pos="355600" algn="l"/>
              </a:tabLst>
            </a:pPr>
            <a:r>
              <a:rPr sz="3000" b="1" spc="-135" dirty="0">
                <a:latin typeface="Trebuchet MS"/>
                <a:cs typeface="Trebuchet MS"/>
              </a:rPr>
              <a:t>Maintenance </a:t>
            </a:r>
            <a:r>
              <a:rPr sz="3000" b="1" spc="-145" dirty="0">
                <a:latin typeface="Trebuchet MS"/>
                <a:cs typeface="Trebuchet MS"/>
              </a:rPr>
              <a:t>and </a:t>
            </a:r>
            <a:r>
              <a:rPr sz="3000" b="1" spc="-190" dirty="0">
                <a:latin typeface="Trebuchet MS"/>
                <a:cs typeface="Trebuchet MS"/>
              </a:rPr>
              <a:t>repair </a:t>
            </a:r>
            <a:r>
              <a:rPr sz="3000" b="1" spc="-130" dirty="0">
                <a:latin typeface="Trebuchet MS"/>
                <a:cs typeface="Trebuchet MS"/>
              </a:rPr>
              <a:t>of </a:t>
            </a:r>
            <a:r>
              <a:rPr sz="3000" b="1" spc="-185" dirty="0">
                <a:latin typeface="Trebuchet MS"/>
                <a:cs typeface="Trebuchet MS"/>
              </a:rPr>
              <a:t>container</a:t>
            </a:r>
            <a:r>
              <a:rPr sz="3000" b="1" spc="-565" dirty="0">
                <a:latin typeface="Trebuchet MS"/>
                <a:cs typeface="Trebuchet MS"/>
              </a:rPr>
              <a:t> </a:t>
            </a:r>
            <a:r>
              <a:rPr sz="3000" b="1" spc="-175" dirty="0">
                <a:latin typeface="Trebuchet MS"/>
                <a:cs typeface="Trebuchet MS"/>
              </a:rPr>
              <a:t>units.</a:t>
            </a:r>
            <a:endParaRPr sz="3000" dirty="0">
              <a:latin typeface="Trebuchet MS"/>
              <a:cs typeface="Trebuchet MS"/>
            </a:endParaRP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0" y="1207905"/>
            <a:ext cx="8889167" cy="5028003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softEdge rad="112522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76" name="Group 75"/>
          <p:cNvGrpSpPr/>
          <p:nvPr/>
        </p:nvGrpSpPr>
        <p:grpSpPr>
          <a:xfrm>
            <a:off x="263525" y="886721"/>
            <a:ext cx="8625642" cy="5139325"/>
            <a:chOff x="263525" y="890686"/>
            <a:chExt cx="8631238" cy="5670452"/>
          </a:xfrm>
        </p:grpSpPr>
        <p:sp>
          <p:nvSpPr>
            <p:cNvPr id="4" name="Rectangle 3"/>
            <p:cNvSpPr/>
            <p:nvPr/>
          </p:nvSpPr>
          <p:spPr bwMode="auto">
            <a:xfrm>
              <a:off x="1819275" y="2090738"/>
              <a:ext cx="4435475" cy="1736725"/>
            </a:xfrm>
            <a:prstGeom prst="rect">
              <a:avLst/>
            </a:prstGeom>
            <a:noFill/>
            <a:ln w="19050">
              <a:prstDash val="lgDash"/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69254" tIns="69254" rIns="69254" bIns="69254" anchor="ctr" anchorCtr="1"/>
            <a:lstStyle/>
            <a:p>
              <a:pPr algn="ctr" defTabSz="865681" eaLnBrk="0" hangingPunct="0">
                <a:lnSpc>
                  <a:spcPct val="106000"/>
                </a:lnSpc>
                <a:defRPr/>
              </a:pPr>
              <a:endParaRPr lang="en-US" sz="1000" b="1" dirty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1698625" y="2005013"/>
              <a:ext cx="6326188" cy="3067050"/>
            </a:xfrm>
            <a:prstGeom prst="rect">
              <a:avLst/>
            </a:prstGeom>
            <a:noFill/>
            <a:ln w="19050"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69254" tIns="69254" rIns="69254" bIns="69254" anchor="ctr" anchorCtr="1"/>
            <a:lstStyle/>
            <a:p>
              <a:pPr algn="ctr" defTabSz="865681" eaLnBrk="0" hangingPunct="0">
                <a:lnSpc>
                  <a:spcPct val="106000"/>
                </a:lnSpc>
                <a:defRPr/>
              </a:pPr>
              <a:endParaRPr lang="en-US" sz="1000" b="1" dirty="0">
                <a:solidFill>
                  <a:schemeClr val="tx1"/>
                </a:solidFill>
                <a:latin typeface="Arial" charset="0"/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 bwMode="auto">
            <a:xfrm flipV="1">
              <a:off x="1700213" y="4000500"/>
              <a:ext cx="4641850" cy="28575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 bwMode="auto">
            <a:xfrm rot="5400000" flipH="1" flipV="1">
              <a:off x="4857750" y="3522663"/>
              <a:ext cx="3048000" cy="12700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 bwMode="auto">
            <a:xfrm rot="5400000" flipH="1" flipV="1">
              <a:off x="3752850" y="4522788"/>
              <a:ext cx="985837" cy="1588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 bwMode="auto">
            <a:xfrm flipV="1">
              <a:off x="6402388" y="3692525"/>
              <a:ext cx="1603375" cy="14288"/>
            </a:xfrm>
            <a:prstGeom prst="line">
              <a:avLst/>
            </a:prstGeom>
            <a:ln w="12700"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10" name="TextBox 73"/>
            <p:cNvSpPr txBox="1">
              <a:spLocks noChangeArrowheads="1"/>
            </p:cNvSpPr>
            <p:nvPr/>
          </p:nvSpPr>
          <p:spPr bwMode="auto">
            <a:xfrm>
              <a:off x="2838450" y="4524375"/>
              <a:ext cx="1346200" cy="3635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6568" tIns="43284" rIns="86568" bIns="43284">
              <a:spAutoFit/>
            </a:bodyPr>
            <a:lstStyle/>
            <a:p>
              <a:pPr algn="ctr"/>
              <a:r>
                <a:rPr lang="en-US" sz="900">
                  <a:latin typeface="Calibri" pitchFamily="34" charset="0"/>
                </a:rPr>
                <a:t>EXIM Containers Storage and Handling</a:t>
              </a:r>
            </a:p>
          </p:txBody>
        </p:sp>
        <p:sp>
          <p:nvSpPr>
            <p:cNvPr id="11" name="TextBox 74"/>
            <p:cNvSpPr txBox="1">
              <a:spLocks noChangeArrowheads="1"/>
            </p:cNvSpPr>
            <p:nvPr/>
          </p:nvSpPr>
          <p:spPr bwMode="auto">
            <a:xfrm>
              <a:off x="3963988" y="4716463"/>
              <a:ext cx="2439987" cy="225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6568" tIns="43284" rIns="86568" bIns="43284">
              <a:spAutoFit/>
            </a:bodyPr>
            <a:lstStyle/>
            <a:p>
              <a:pPr algn="r"/>
              <a:r>
                <a:rPr lang="en-US" sz="900">
                  <a:latin typeface="Calibri" pitchFamily="34" charset="0"/>
                </a:rPr>
                <a:t>Domestic Container Space</a:t>
              </a:r>
            </a:p>
          </p:txBody>
        </p:sp>
        <p:sp>
          <p:nvSpPr>
            <p:cNvPr id="12" name="TextBox 78"/>
            <p:cNvSpPr txBox="1">
              <a:spLocks noChangeArrowheads="1"/>
            </p:cNvSpPr>
            <p:nvPr/>
          </p:nvSpPr>
          <p:spPr bwMode="auto">
            <a:xfrm>
              <a:off x="5295900" y="3222625"/>
              <a:ext cx="985838" cy="3635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6568" tIns="43284" rIns="86568" bIns="43284">
              <a:spAutoFit/>
            </a:bodyPr>
            <a:lstStyle/>
            <a:p>
              <a:pPr algn="ctr"/>
              <a:r>
                <a:rPr lang="en-US" sz="900" b="1">
                  <a:latin typeface="Calibri" pitchFamily="34" charset="0"/>
                </a:rPr>
                <a:t>Warehouse</a:t>
              </a:r>
              <a:r>
                <a:rPr lang="en-US" sz="900">
                  <a:latin typeface="Calibri" pitchFamily="34" charset="0"/>
                </a:rPr>
                <a:t>: </a:t>
              </a:r>
            </a:p>
            <a:p>
              <a:pPr algn="ctr"/>
              <a:r>
                <a:rPr lang="en-US" sz="900">
                  <a:latin typeface="Calibri" pitchFamily="34" charset="0"/>
                </a:rPr>
                <a:t>Cargo Storage</a:t>
              </a:r>
            </a:p>
          </p:txBody>
        </p:sp>
        <p:pic>
          <p:nvPicPr>
            <p:cNvPr id="13" name="Picture 8" descr="http://t0.gstatic.com/images?q=tbn:ANd9GcTs_V0fKF5zEswRH8c9VaEk4gwIoGURqr8KgNaSa9rBBuejGywIjg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665913" y="4029075"/>
              <a:ext cx="687387" cy="730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32" descr="http://t1.gstatic.com/images?q=tbn:ANd9GcR7x03NZqHozexV8bBDcPQK8VJKPKNCNRqCN5ZBPAK_FqhhNEtMq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943100" y="4156075"/>
              <a:ext cx="1030288" cy="742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32" descr="http://t1.gstatic.com/images?q=tbn:ANd9GcR7x03NZqHozexV8bBDcPQK8VJKPKNCNRqCN5ZBPAK_FqhhNEtMq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309699" y="4162572"/>
              <a:ext cx="1030164" cy="744236"/>
            </a:xfrm>
            <a:prstGeom prst="rect">
              <a:avLst/>
            </a:prstGeom>
            <a:noFill/>
          </p:spPr>
        </p:pic>
        <p:pic>
          <p:nvPicPr>
            <p:cNvPr id="16" name="Picture 34" descr="http://t2.gstatic.com/images?q=tbn:ANd9GcSDbCLEMm_C2dmgA0Bf_2pvJPP-VA60-m-j37i9Q_ChH-D2_3LT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DDDCE2"/>
                </a:clrFrom>
                <a:clrTo>
                  <a:srgbClr val="DDDCE2">
                    <a:alpha val="0"/>
                  </a:srgbClr>
                </a:clrTo>
              </a:clrChange>
            </a:blip>
            <a:srcRect r="56657" b="61884"/>
            <a:stretch>
              <a:fillRect/>
            </a:stretch>
          </p:blipFill>
          <p:spPr bwMode="auto">
            <a:xfrm>
              <a:off x="6638925" y="2498725"/>
              <a:ext cx="862013" cy="793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36" descr="http://t2.gstatic.com/images?q=tbn:ANd9GcSDbCLEMm_C2dmgA0Bf_2pvJPP-VA60-m-j37i9Q_ChH-D2_3LT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 l="49409" t="62717"/>
            <a:stretch>
              <a:fillRect/>
            </a:stretch>
          </p:blipFill>
          <p:spPr bwMode="auto">
            <a:xfrm>
              <a:off x="4948238" y="2176463"/>
              <a:ext cx="1373187" cy="1060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Box 70"/>
            <p:cNvSpPr txBox="1">
              <a:spLocks noChangeArrowheads="1"/>
            </p:cNvSpPr>
            <p:nvPr/>
          </p:nvSpPr>
          <p:spPr bwMode="auto">
            <a:xfrm>
              <a:off x="8059738" y="1570038"/>
              <a:ext cx="746125" cy="503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6568" tIns="43284" rIns="86568" bIns="43284">
              <a:spAutoFit/>
            </a:bodyPr>
            <a:lstStyle/>
            <a:p>
              <a:pPr algn="ctr"/>
              <a:r>
                <a:rPr lang="en-US" sz="900">
                  <a:latin typeface="Calibri" pitchFamily="34" charset="0"/>
                </a:rPr>
                <a:t>Main IR network line</a:t>
              </a:r>
            </a:p>
          </p:txBody>
        </p:sp>
        <p:sp>
          <p:nvSpPr>
            <p:cNvPr id="19" name="TextBox 71"/>
            <p:cNvSpPr txBox="1">
              <a:spLocks noChangeArrowheads="1"/>
            </p:cNvSpPr>
            <p:nvPr/>
          </p:nvSpPr>
          <p:spPr bwMode="auto">
            <a:xfrm>
              <a:off x="412750" y="2205038"/>
              <a:ext cx="822325" cy="503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6568" tIns="43284" rIns="86568" bIns="43284">
              <a:spAutoFit/>
            </a:bodyPr>
            <a:lstStyle/>
            <a:p>
              <a:pPr algn="ctr"/>
              <a:r>
                <a:rPr lang="en-US" sz="900">
                  <a:latin typeface="Calibri" pitchFamily="34" charset="0"/>
                </a:rPr>
                <a:t>Rail siding drawn into facility</a:t>
              </a:r>
            </a:p>
          </p:txBody>
        </p:sp>
        <p:sp>
          <p:nvSpPr>
            <p:cNvPr id="20" name="TextBox 72"/>
            <p:cNvSpPr txBox="1">
              <a:spLocks noChangeArrowheads="1"/>
            </p:cNvSpPr>
            <p:nvPr/>
          </p:nvSpPr>
          <p:spPr bwMode="auto">
            <a:xfrm>
              <a:off x="4017963" y="3186113"/>
              <a:ext cx="822325" cy="225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6568" tIns="43284" rIns="86568" bIns="43284">
              <a:spAutoFit/>
            </a:bodyPr>
            <a:lstStyle/>
            <a:p>
              <a:pPr algn="ctr"/>
              <a:r>
                <a:rPr lang="en-US" sz="900">
                  <a:latin typeface="Calibri" pitchFamily="34" charset="0"/>
                </a:rPr>
                <a:t>PFT rail line 2</a:t>
              </a:r>
            </a:p>
          </p:txBody>
        </p:sp>
        <p:sp>
          <p:nvSpPr>
            <p:cNvPr id="21" name="TextBox 79"/>
            <p:cNvSpPr txBox="1">
              <a:spLocks noChangeArrowheads="1"/>
            </p:cNvSpPr>
            <p:nvPr/>
          </p:nvSpPr>
          <p:spPr bwMode="auto">
            <a:xfrm>
              <a:off x="2838450" y="4197350"/>
              <a:ext cx="1346200" cy="3635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6568" tIns="43284" rIns="86568" bIns="43284">
              <a:spAutoFit/>
            </a:bodyPr>
            <a:lstStyle/>
            <a:p>
              <a:pPr algn="ctr"/>
              <a:r>
                <a:rPr lang="en-US" sz="900">
                  <a:latin typeface="Calibri" pitchFamily="34" charset="0"/>
                </a:rPr>
                <a:t>Customs Notified Area:- </a:t>
              </a:r>
              <a:r>
                <a:rPr lang="en-US" sz="900" b="1">
                  <a:latin typeface="Calibri" pitchFamily="34" charset="0"/>
                </a:rPr>
                <a:t>ICD</a:t>
              </a:r>
            </a:p>
          </p:txBody>
        </p:sp>
        <p:sp>
          <p:nvSpPr>
            <p:cNvPr id="22" name="TextBox 80"/>
            <p:cNvSpPr txBox="1">
              <a:spLocks noChangeArrowheads="1"/>
            </p:cNvSpPr>
            <p:nvPr/>
          </p:nvSpPr>
          <p:spPr bwMode="auto">
            <a:xfrm>
              <a:off x="4017963" y="2532063"/>
              <a:ext cx="822325" cy="225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6568" tIns="43284" rIns="86568" bIns="43284">
              <a:spAutoFit/>
            </a:bodyPr>
            <a:lstStyle/>
            <a:p>
              <a:pPr algn="ctr"/>
              <a:r>
                <a:rPr lang="en-US" sz="900">
                  <a:latin typeface="Calibri" pitchFamily="34" charset="0"/>
                </a:rPr>
                <a:t>PFT rail line 1</a:t>
              </a:r>
            </a:p>
          </p:txBody>
        </p:sp>
        <p:pic>
          <p:nvPicPr>
            <p:cNvPr id="23" name="Picture 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59363" y="3305175"/>
              <a:ext cx="306387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TextBox 76"/>
            <p:cNvSpPr txBox="1">
              <a:spLocks noChangeArrowheads="1"/>
            </p:cNvSpPr>
            <p:nvPr/>
          </p:nvSpPr>
          <p:spPr bwMode="auto">
            <a:xfrm>
              <a:off x="7008813" y="4562475"/>
              <a:ext cx="1012825" cy="225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6568" tIns="43284" rIns="86568" bIns="43284">
              <a:spAutoFit/>
            </a:bodyPr>
            <a:lstStyle/>
            <a:p>
              <a:r>
                <a:rPr lang="en-US" sz="900">
                  <a:latin typeface="Calibri" pitchFamily="34" charset="0"/>
                </a:rPr>
                <a:t>Repair Facilities</a:t>
              </a:r>
            </a:p>
          </p:txBody>
        </p:sp>
        <p:sp>
          <p:nvSpPr>
            <p:cNvPr id="25" name="TextBox 77"/>
            <p:cNvSpPr txBox="1">
              <a:spLocks noChangeArrowheads="1"/>
            </p:cNvSpPr>
            <p:nvPr/>
          </p:nvSpPr>
          <p:spPr bwMode="auto">
            <a:xfrm>
              <a:off x="6945313" y="3175000"/>
              <a:ext cx="1012825" cy="225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6568" tIns="43284" rIns="86568" bIns="43284">
              <a:spAutoFit/>
            </a:bodyPr>
            <a:lstStyle/>
            <a:p>
              <a:r>
                <a:rPr lang="en-US" sz="900">
                  <a:latin typeface="Calibri" pitchFamily="34" charset="0"/>
                </a:rPr>
                <a:t>Warehouse Yard</a:t>
              </a:r>
            </a:p>
          </p:txBody>
        </p:sp>
        <p:sp>
          <p:nvSpPr>
            <p:cNvPr id="26" name="Striped Right Arrow 25"/>
            <p:cNvSpPr/>
            <p:nvPr/>
          </p:nvSpPr>
          <p:spPr bwMode="auto">
            <a:xfrm rot="16200000" flipV="1">
              <a:off x="4164012" y="5000626"/>
              <a:ext cx="371475" cy="571500"/>
            </a:xfrm>
            <a:prstGeom prst="stripedRightArrow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69254" tIns="69254" rIns="69254" bIns="69254" anchor="ctr" anchorCtr="1"/>
            <a:lstStyle/>
            <a:p>
              <a:pPr algn="ctr" defTabSz="865681" eaLnBrk="0" hangingPunct="0">
                <a:lnSpc>
                  <a:spcPct val="106000"/>
                </a:lnSpc>
                <a:defRPr/>
              </a:pPr>
              <a:endParaRPr lang="en-IN" sz="1000" b="1" dirty="0">
                <a:latin typeface="Arial" charset="0"/>
              </a:endParaRPr>
            </a:p>
          </p:txBody>
        </p:sp>
        <p:sp>
          <p:nvSpPr>
            <p:cNvPr id="27" name="Oval 26"/>
            <p:cNvSpPr/>
            <p:nvPr/>
          </p:nvSpPr>
          <p:spPr bwMode="auto">
            <a:xfrm>
              <a:off x="3705225" y="5513388"/>
              <a:ext cx="1325563" cy="44132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86560" tIns="86560" rIns="86560" bIns="86560" anchor="ctr"/>
            <a:lstStyle/>
            <a:p>
              <a:pPr algn="ctr" eaLnBrk="0" hangingPunct="0">
                <a:spcAft>
                  <a:spcPts val="284"/>
                </a:spcAft>
                <a:defRPr/>
              </a:pPr>
              <a:r>
                <a:rPr lang="en-IN" sz="900" b="1" dirty="0">
                  <a:latin typeface="Arial" charset="0"/>
                </a:rPr>
                <a:t>Catchment Cargo by Road</a:t>
              </a:r>
            </a:p>
          </p:txBody>
        </p:sp>
        <p:sp>
          <p:nvSpPr>
            <p:cNvPr id="28" name="Oval 27"/>
            <p:cNvSpPr/>
            <p:nvPr/>
          </p:nvSpPr>
          <p:spPr bwMode="auto">
            <a:xfrm>
              <a:off x="1557338" y="907226"/>
              <a:ext cx="1239837" cy="523776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86560" tIns="86560" rIns="86560" bIns="86560" anchor="ctr"/>
            <a:lstStyle/>
            <a:p>
              <a:pPr algn="ctr" eaLnBrk="0" hangingPunct="0">
                <a:spcAft>
                  <a:spcPts val="284"/>
                </a:spcAft>
                <a:defRPr/>
              </a:pPr>
              <a:r>
                <a:rPr lang="en-IN" sz="900" b="1" dirty="0">
                  <a:latin typeface="Arial" charset="0"/>
                </a:rPr>
                <a:t>Freight Forwarding by Rail</a:t>
              </a:r>
            </a:p>
          </p:txBody>
        </p:sp>
        <p:sp>
          <p:nvSpPr>
            <p:cNvPr id="29" name="Oval 28"/>
            <p:cNvSpPr/>
            <p:nvPr/>
          </p:nvSpPr>
          <p:spPr bwMode="auto">
            <a:xfrm>
              <a:off x="7620000" y="2667118"/>
              <a:ext cx="1274763" cy="517408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86560" tIns="86560" rIns="86560" bIns="86560" anchor="ctr"/>
            <a:lstStyle/>
            <a:p>
              <a:pPr algn="ctr" eaLnBrk="0" hangingPunct="0">
                <a:spcAft>
                  <a:spcPts val="284"/>
                </a:spcAft>
                <a:defRPr/>
              </a:pPr>
              <a:r>
                <a:rPr lang="en-IN" sz="900" b="1" dirty="0">
                  <a:latin typeface="Arial" charset="0"/>
                </a:rPr>
                <a:t>Warehousing &amp; Cold Chain</a:t>
              </a:r>
            </a:p>
          </p:txBody>
        </p:sp>
        <p:sp>
          <p:nvSpPr>
            <p:cNvPr id="30" name="Oval 29"/>
            <p:cNvSpPr/>
            <p:nvPr/>
          </p:nvSpPr>
          <p:spPr bwMode="auto">
            <a:xfrm>
              <a:off x="4910138" y="890686"/>
              <a:ext cx="1241425" cy="523777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86560" tIns="86560" rIns="86560" bIns="86560" anchor="ctr"/>
            <a:lstStyle/>
            <a:p>
              <a:pPr algn="ctr" eaLnBrk="0" hangingPunct="0">
                <a:spcAft>
                  <a:spcPts val="284"/>
                </a:spcAft>
                <a:defRPr/>
              </a:pPr>
              <a:r>
                <a:rPr lang="en-IN" sz="900" b="1" dirty="0">
                  <a:latin typeface="Arial" charset="0"/>
                </a:rPr>
                <a:t>Bulk / Container Business</a:t>
              </a:r>
            </a:p>
          </p:txBody>
        </p:sp>
        <p:sp>
          <p:nvSpPr>
            <p:cNvPr id="31" name="Oval 30"/>
            <p:cNvSpPr/>
            <p:nvPr/>
          </p:nvSpPr>
          <p:spPr bwMode="auto">
            <a:xfrm>
              <a:off x="6380163" y="973138"/>
              <a:ext cx="1239837" cy="44132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86560" tIns="86560" rIns="86560" bIns="86560" anchor="ctr"/>
            <a:lstStyle/>
            <a:p>
              <a:pPr algn="ctr" eaLnBrk="0" hangingPunct="0">
                <a:spcAft>
                  <a:spcPts val="284"/>
                </a:spcAft>
                <a:defRPr/>
              </a:pPr>
              <a:r>
                <a:rPr lang="en-IN" sz="900" b="1" dirty="0">
                  <a:latin typeface="Arial" charset="0"/>
                </a:rPr>
                <a:t>Liquid Logistics</a:t>
              </a:r>
            </a:p>
          </p:txBody>
        </p:sp>
        <p:pic>
          <p:nvPicPr>
            <p:cNvPr id="32" name="Picture 4" descr="https://encrypted-tbn1.gstatic.com/images?q=tbn:ANd9GcSf3c4EKIO3as8bw4CHYHAJM8_RyhjNw5g95DjL7xC0khru5ZT2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rcRect l="-3592" b="79008"/>
            <a:stretch>
              <a:fillRect/>
            </a:stretch>
          </p:blipFill>
          <p:spPr bwMode="auto">
            <a:xfrm>
              <a:off x="5446713" y="1612900"/>
              <a:ext cx="1238250" cy="266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4" descr="https://encrypted-tbn1.gstatic.com/images?q=tbn:ANd9GcSf3c4EKIO3as8bw4CHYHAJM8_RyhjNw5g95DjL7xC0khru5ZT2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rcRect l="-3592" b="79008"/>
            <a:stretch>
              <a:fillRect/>
            </a:stretch>
          </p:blipFill>
          <p:spPr bwMode="auto">
            <a:xfrm>
              <a:off x="6223000" y="1622425"/>
              <a:ext cx="1239838" cy="266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" name="Picture 4" descr="https://encrypted-tbn1.gstatic.com/images?q=tbn:ANd9GcSf3c4EKIO3as8bw4CHYHAJM8_RyhjNw5g95DjL7xC0khru5ZT2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rcRect l="-3592" b="79008"/>
            <a:stretch>
              <a:fillRect/>
            </a:stretch>
          </p:blipFill>
          <p:spPr bwMode="auto">
            <a:xfrm>
              <a:off x="6999288" y="1620838"/>
              <a:ext cx="1239837" cy="266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" name="Oval 34"/>
            <p:cNvSpPr/>
            <p:nvPr/>
          </p:nvSpPr>
          <p:spPr bwMode="auto">
            <a:xfrm>
              <a:off x="657225" y="4371975"/>
              <a:ext cx="1241425" cy="442913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86560" tIns="86560" rIns="86560" bIns="86560" anchor="ctr"/>
            <a:lstStyle/>
            <a:p>
              <a:pPr algn="ctr" eaLnBrk="0" hangingPunct="0">
                <a:spcAft>
                  <a:spcPts val="284"/>
                </a:spcAft>
                <a:defRPr/>
              </a:pPr>
              <a:r>
                <a:rPr lang="en-IN" sz="900" b="1" dirty="0">
                  <a:latin typeface="Arial" charset="0"/>
                </a:rPr>
                <a:t>ICD</a:t>
              </a:r>
            </a:p>
          </p:txBody>
        </p:sp>
        <p:pic>
          <p:nvPicPr>
            <p:cNvPr id="36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532563" y="1431925"/>
              <a:ext cx="931862" cy="39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7" name="Oval 36"/>
            <p:cNvSpPr/>
            <p:nvPr/>
          </p:nvSpPr>
          <p:spPr bwMode="auto">
            <a:xfrm>
              <a:off x="263525" y="3394075"/>
              <a:ext cx="1325563" cy="44132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86560" tIns="86560" rIns="86560" bIns="86560" anchor="ctr"/>
            <a:lstStyle/>
            <a:p>
              <a:pPr algn="ctr" eaLnBrk="0" hangingPunct="0">
                <a:spcAft>
                  <a:spcPts val="284"/>
                </a:spcAft>
                <a:defRPr/>
              </a:pPr>
              <a:r>
                <a:rPr lang="en-IN" sz="900" b="1" dirty="0">
                  <a:latin typeface="Arial" charset="0"/>
                </a:rPr>
                <a:t>Catchment Cargo by Rail</a:t>
              </a:r>
            </a:p>
          </p:txBody>
        </p:sp>
        <p:pic>
          <p:nvPicPr>
            <p:cNvPr id="38" name="Picture 24" descr="https://encrypted-tbn2.gstatic.com/images?q=tbn:ANd9GcQuAbvdXT7XrugRYkWKjbqM8GP_fIo2biWbxJYdKozrtfqlc7iuHA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5">
                  <a:lumMod val="50000"/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3116565" y="5307006"/>
              <a:ext cx="563597" cy="373100"/>
            </a:xfrm>
            <a:prstGeom prst="rect">
              <a:avLst/>
            </a:prstGeom>
            <a:solidFill>
              <a:srgbClr val="FFFFFF"/>
            </a:solidFill>
          </p:spPr>
        </p:pic>
        <p:sp>
          <p:nvSpPr>
            <p:cNvPr id="39" name="Oval 38"/>
            <p:cNvSpPr/>
            <p:nvPr/>
          </p:nvSpPr>
          <p:spPr bwMode="auto">
            <a:xfrm>
              <a:off x="6051550" y="5222875"/>
              <a:ext cx="1239838" cy="44132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86560" tIns="86560" rIns="86560" bIns="86560" anchor="ctr"/>
            <a:lstStyle/>
            <a:p>
              <a:pPr algn="ctr" eaLnBrk="0" hangingPunct="0">
                <a:spcAft>
                  <a:spcPts val="284"/>
                </a:spcAft>
                <a:defRPr/>
              </a:pPr>
              <a:r>
                <a:rPr lang="en-IN" sz="900" b="1" dirty="0">
                  <a:latin typeface="Arial" charset="0"/>
                </a:rPr>
                <a:t>Freight Forwarding by Road</a:t>
              </a:r>
            </a:p>
          </p:txBody>
        </p:sp>
        <p:pic>
          <p:nvPicPr>
            <p:cNvPr id="40" name="Picture 24" descr="https://encrypted-tbn2.gstatic.com/images?q=tbn:ANd9GcQuAbvdXT7XrugRYkWKjbqM8GP_fIo2biWbxJYdKozrtfqlc7iuHA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accent5">
                  <a:lumMod val="50000"/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391675" y="5307006"/>
              <a:ext cx="563597" cy="373100"/>
            </a:xfrm>
            <a:prstGeom prst="rect">
              <a:avLst/>
            </a:prstGeom>
            <a:solidFill>
              <a:srgbClr val="FFFFFF"/>
            </a:solidFill>
          </p:spPr>
        </p:pic>
        <p:sp>
          <p:nvSpPr>
            <p:cNvPr id="41" name="Rounded Rectangle 40"/>
            <p:cNvSpPr/>
            <p:nvPr/>
          </p:nvSpPr>
          <p:spPr bwMode="auto">
            <a:xfrm>
              <a:off x="685800" y="6106017"/>
              <a:ext cx="7727950" cy="455121"/>
            </a:xfrm>
            <a:prstGeom prst="roundRect">
              <a:avLst/>
            </a:prstGeom>
            <a:ln/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wrap="square" lIns="86553" tIns="34082" rIns="86553" bIns="34082" anchor="ctr">
              <a:spAutoFit/>
            </a:bodyPr>
            <a:lstStyle/>
            <a:p>
              <a:pPr indent="-324630" algn="ctr">
                <a:lnSpc>
                  <a:spcPct val="106000"/>
                </a:lnSpc>
                <a:spcBef>
                  <a:spcPct val="80000"/>
                </a:spcBef>
                <a:buClr>
                  <a:schemeClr val="tx1"/>
                </a:buClr>
                <a:buSzPct val="80000"/>
                <a:defRPr/>
              </a:pPr>
              <a:r>
                <a:rPr lang="en-US" sz="1050" b="1" dirty="0">
                  <a:latin typeface="Alstom Light" pitchFamily="2" charset="0"/>
                </a:rPr>
                <a:t>The Services’ paradigm provides for the greater accountability with respect to shortages / damages at one point vs distribution of accountability by engaging multiple vendors</a:t>
              </a:r>
            </a:p>
          </p:txBody>
        </p:sp>
        <p:sp>
          <p:nvSpPr>
            <p:cNvPr id="42" name="Striped Right Arrow 41"/>
            <p:cNvSpPr/>
            <p:nvPr/>
          </p:nvSpPr>
          <p:spPr bwMode="auto">
            <a:xfrm flipV="1">
              <a:off x="1212850" y="2744788"/>
              <a:ext cx="350838" cy="608012"/>
            </a:xfrm>
            <a:prstGeom prst="stripedRightArrow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69254" tIns="69254" rIns="69254" bIns="69254" anchor="ctr" anchorCtr="1"/>
            <a:lstStyle/>
            <a:p>
              <a:pPr algn="ctr" defTabSz="865681" eaLnBrk="0" hangingPunct="0">
                <a:lnSpc>
                  <a:spcPct val="106000"/>
                </a:lnSpc>
                <a:defRPr/>
              </a:pPr>
              <a:endParaRPr lang="en-IN" sz="1000" b="1" dirty="0">
                <a:latin typeface="Arial" charset="0"/>
              </a:endParaRPr>
            </a:p>
          </p:txBody>
        </p:sp>
        <p:grpSp>
          <p:nvGrpSpPr>
            <p:cNvPr id="43" name="Group 127"/>
            <p:cNvGrpSpPr>
              <a:grpSpLocks/>
            </p:cNvGrpSpPr>
            <p:nvPr/>
          </p:nvGrpSpPr>
          <p:grpSpPr bwMode="auto">
            <a:xfrm>
              <a:off x="1600200" y="2189163"/>
              <a:ext cx="342900" cy="482600"/>
              <a:chOff x="2829261" y="5497142"/>
              <a:chExt cx="182880" cy="184674"/>
            </a:xfrm>
          </p:grpSpPr>
          <p:sp>
            <p:nvSpPr>
              <p:cNvPr id="44" name="Rectangle 98"/>
              <p:cNvSpPr>
                <a:spLocks noChangeArrowheads="1"/>
              </p:cNvSpPr>
              <p:nvPr/>
            </p:nvSpPr>
            <p:spPr bwMode="auto">
              <a:xfrm>
                <a:off x="2829261" y="5497158"/>
                <a:ext cx="182880" cy="18288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noFill/>
                <a:round/>
                <a:headEnd/>
                <a:tailEnd/>
              </a:ln>
            </p:spPr>
            <p:txBody>
              <a:bodyPr lIns="73152" tIns="73152" rIns="73152" bIns="73152" anchor="ctr" anchorCtr="1"/>
              <a:lstStyle/>
              <a:p>
                <a:pPr algn="ctr" defTabSz="865188" eaLnBrk="0" hangingPunct="0">
                  <a:lnSpc>
                    <a:spcPct val="106000"/>
                  </a:lnSpc>
                </a:pPr>
                <a:endParaRPr lang="en-US" sz="1000" b="1"/>
              </a:p>
            </p:txBody>
          </p:sp>
          <p:cxnSp>
            <p:nvCxnSpPr>
              <p:cNvPr id="45" name="Straight Connector 44"/>
              <p:cNvCxnSpPr/>
              <p:nvPr/>
            </p:nvCxnSpPr>
            <p:spPr bwMode="auto">
              <a:xfrm>
                <a:off x="2829261" y="5497142"/>
                <a:ext cx="182880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/>
            </p:nvCxnSpPr>
            <p:spPr bwMode="auto">
              <a:xfrm>
                <a:off x="2829261" y="5681816"/>
                <a:ext cx="182880" cy="0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pic>
          <p:nvPicPr>
            <p:cNvPr id="47" name="Picture 4" descr="https://encrypted-tbn1.gstatic.com/images?q=tbn:ANd9GcSf3c4EKIO3as8bw4CHYHAJM8_RyhjNw5g95DjL7xC0khru5ZT2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rcRect r="79008" b="-3592"/>
            <a:stretch>
              <a:fillRect/>
            </a:stretch>
          </p:blipFill>
          <p:spPr bwMode="auto">
            <a:xfrm rot="9000000">
              <a:off x="2032000" y="2098675"/>
              <a:ext cx="250825" cy="131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8" name="Group 49"/>
            <p:cNvGrpSpPr>
              <a:grpSpLocks/>
            </p:cNvGrpSpPr>
            <p:nvPr/>
          </p:nvGrpSpPr>
          <p:grpSpPr bwMode="auto">
            <a:xfrm>
              <a:off x="554038" y="1604963"/>
              <a:ext cx="5354637" cy="900112"/>
              <a:chOff x="326877" y="1173219"/>
              <a:chExt cx="5801654" cy="918474"/>
            </a:xfrm>
          </p:grpSpPr>
          <p:grpSp>
            <p:nvGrpSpPr>
              <p:cNvPr id="49" name="Group 47"/>
              <p:cNvGrpSpPr>
                <a:grpSpLocks/>
              </p:cNvGrpSpPr>
              <p:nvPr/>
            </p:nvGrpSpPr>
            <p:grpSpPr bwMode="auto">
              <a:xfrm>
                <a:off x="326877" y="1173219"/>
                <a:ext cx="4459171" cy="918474"/>
                <a:chOff x="326877" y="1173219"/>
                <a:chExt cx="4459171" cy="918474"/>
              </a:xfrm>
            </p:grpSpPr>
            <p:grpSp>
              <p:nvGrpSpPr>
                <p:cNvPr id="54" name="Group 73"/>
                <p:cNvGrpSpPr>
                  <a:grpSpLocks/>
                </p:cNvGrpSpPr>
                <p:nvPr/>
              </p:nvGrpSpPr>
              <p:grpSpPr bwMode="auto">
                <a:xfrm rot="5400000">
                  <a:off x="2419507" y="-906801"/>
                  <a:ext cx="273911" cy="4459171"/>
                  <a:chOff x="276312" y="1181608"/>
                  <a:chExt cx="273911" cy="4459171"/>
                </a:xfrm>
              </p:grpSpPr>
              <p:pic>
                <p:nvPicPr>
                  <p:cNvPr id="60" name="Picture 4" descr="https://encrypted-tbn1.gstatic.com/images?q=tbn:ANd9GcSf3c4EKIO3as8bw4CHYHAJM8_RyhjNw5g95DjL7xC0khru5ZT2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lum bright="70000" contrast="-70000"/>
                  </a:blip>
                  <a:srcRect r="81146" b="57829"/>
                  <a:stretch>
                    <a:fillRect/>
                  </a:stretch>
                </p:blipFill>
                <p:spPr bwMode="auto">
                  <a:xfrm>
                    <a:off x="278287" y="5094493"/>
                    <a:ext cx="244227" cy="546286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61" name="Picture 4" descr="https://encrypted-tbn1.gstatic.com/images?q=tbn:ANd9GcSf3c4EKIO3as8bw4CHYHAJM8_RyhjNw5g95DjL7xC0khru5ZT2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lum bright="70000" contrast="-70000"/>
                  </a:blip>
                  <a:srcRect r="79008" b="-3592"/>
                  <a:stretch>
                    <a:fillRect/>
                  </a:stretch>
                </p:blipFill>
                <p:spPr bwMode="auto">
                  <a:xfrm>
                    <a:off x="278287" y="4118737"/>
                    <a:ext cx="271936" cy="134193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62" name="Picture 4" descr="https://encrypted-tbn1.gstatic.com/images?q=tbn:ANd9GcSf3c4EKIO3as8bw4CHYHAJM8_RyhjNw5g95DjL7xC0khru5ZT2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lum bright="70000" contrast="-70000"/>
                  </a:blip>
                  <a:srcRect r="79008" b="-3592"/>
                  <a:stretch>
                    <a:fillRect/>
                  </a:stretch>
                </p:blipFill>
                <p:spPr bwMode="auto">
                  <a:xfrm>
                    <a:off x="278287" y="3144964"/>
                    <a:ext cx="271936" cy="134193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63" name="Picture 4" descr="https://encrypted-tbn1.gstatic.com/images?q=tbn:ANd9GcSf3c4EKIO3as8bw4CHYHAJM8_RyhjNw5g95DjL7xC0khru5ZT2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lum bright="70000" contrast="-70000"/>
                  </a:blip>
                  <a:srcRect r="79008" b="-3592"/>
                  <a:stretch>
                    <a:fillRect/>
                  </a:stretch>
                </p:blipFill>
                <p:spPr bwMode="auto">
                  <a:xfrm>
                    <a:off x="278287" y="2169208"/>
                    <a:ext cx="271936" cy="134193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64" name="Picture 4" descr="https://encrypted-tbn1.gstatic.com/images?q=tbn:ANd9GcSf3c4EKIO3as8bw4CHYHAJM8_RyhjNw5g95DjL7xC0khru5ZT2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lum bright="70000" contrast="-70000"/>
                  </a:blip>
                  <a:srcRect r="79008" b="-3592"/>
                  <a:stretch>
                    <a:fillRect/>
                  </a:stretch>
                </p:blipFill>
                <p:spPr bwMode="auto">
                  <a:xfrm>
                    <a:off x="276312" y="1181608"/>
                    <a:ext cx="271936" cy="134193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  <p:grpSp>
              <p:nvGrpSpPr>
                <p:cNvPr id="55" name="Group 74"/>
                <p:cNvGrpSpPr>
                  <a:grpSpLocks/>
                </p:cNvGrpSpPr>
                <p:nvPr/>
              </p:nvGrpSpPr>
              <p:grpSpPr bwMode="auto">
                <a:xfrm rot="5400000">
                  <a:off x="2530013" y="279085"/>
                  <a:ext cx="273911" cy="3305289"/>
                  <a:chOff x="-376831" y="1324114"/>
                  <a:chExt cx="273911" cy="3305289"/>
                </a:xfrm>
              </p:grpSpPr>
              <p:pic>
                <p:nvPicPr>
                  <p:cNvPr id="57" name="Picture 4" descr="https://encrypted-tbn1.gstatic.com/images?q=tbn:ANd9GcSf3c4EKIO3as8bw4CHYHAJM8_RyhjNw5g95DjL7xC0khru5ZT2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lum bright="70000" contrast="-70000"/>
                  </a:blip>
                  <a:srcRect r="79008" b="-3592"/>
                  <a:stretch>
                    <a:fillRect/>
                  </a:stretch>
                </p:blipFill>
                <p:spPr bwMode="auto">
                  <a:xfrm>
                    <a:off x="-374856" y="3287470"/>
                    <a:ext cx="271936" cy="134193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58" name="Picture 4" descr="https://encrypted-tbn1.gstatic.com/images?q=tbn:ANd9GcSf3c4EKIO3as8bw4CHYHAJM8_RyhjNw5g95DjL7xC0khru5ZT2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lum bright="70000" contrast="-70000"/>
                  </a:blip>
                  <a:srcRect r="79008" b="-3592"/>
                  <a:stretch>
                    <a:fillRect/>
                  </a:stretch>
                </p:blipFill>
                <p:spPr bwMode="auto">
                  <a:xfrm>
                    <a:off x="-374856" y="2311714"/>
                    <a:ext cx="271936" cy="134193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59" name="Picture 4" descr="https://encrypted-tbn1.gstatic.com/images?q=tbn:ANd9GcSf3c4EKIO3as8bw4CHYHAJM8_RyhjNw5g95DjL7xC0khru5ZT2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lum bright="70000" contrast="-70000"/>
                  </a:blip>
                  <a:srcRect r="79008" b="-3592"/>
                  <a:stretch>
                    <a:fillRect/>
                  </a:stretch>
                </p:blipFill>
                <p:spPr bwMode="auto">
                  <a:xfrm>
                    <a:off x="-376831" y="1324114"/>
                    <a:ext cx="271936" cy="134193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  <p:pic>
              <p:nvPicPr>
                <p:cNvPr id="56" name="Picture 4" descr="https://encrypted-tbn1.gstatic.com/images?q=tbn:ANd9GcSf3c4EKIO3as8bw4CHYHAJM8_RyhjNw5g95DjL7xC0khru5ZT2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lum bright="70000" contrast="-70000"/>
                </a:blip>
                <a:srcRect l="-851" t="32689" r="79008" b="-3592"/>
                <a:stretch>
                  <a:fillRect/>
                </a:stretch>
              </p:blipFill>
              <p:spPr bwMode="auto">
                <a:xfrm rot="9000000">
                  <a:off x="856209" y="1173219"/>
                  <a:ext cx="282957" cy="9184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50" name="Group 48"/>
              <p:cNvGrpSpPr>
                <a:grpSpLocks/>
              </p:cNvGrpSpPr>
              <p:nvPr/>
            </p:nvGrpSpPr>
            <p:grpSpPr bwMode="auto">
              <a:xfrm>
                <a:off x="3642694" y="1183851"/>
                <a:ext cx="2485837" cy="882856"/>
                <a:chOff x="3642694" y="1183851"/>
                <a:chExt cx="2485837" cy="882856"/>
              </a:xfrm>
            </p:grpSpPr>
            <p:pic>
              <p:nvPicPr>
                <p:cNvPr id="51" name="Picture 4" descr="https://encrypted-tbn1.gstatic.com/images?q=tbn:ANd9GcSf3c4EKIO3as8bw4CHYHAJM8_RyhjNw5g95DjL7xC0khru5ZT2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lum bright="70000" contrast="-70000"/>
                </a:blip>
                <a:srcRect r="79008" b="-3592"/>
                <a:stretch>
                  <a:fillRect/>
                </a:stretch>
              </p:blipFill>
              <p:spPr bwMode="auto">
                <a:xfrm rot="5400000">
                  <a:off x="5321597" y="648853"/>
                  <a:ext cx="271936" cy="13419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52" name="Picture 4" descr="https://encrypted-tbn1.gstatic.com/images?q=tbn:ANd9GcSf3c4EKIO3as8bw4CHYHAJM8_RyhjNw5g95DjL7xC0khru5ZT2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lum bright="70000" contrast="-70000"/>
                </a:blip>
                <a:srcRect r="79008" b="-3592"/>
                <a:stretch>
                  <a:fillRect/>
                </a:stretch>
              </p:blipFill>
              <p:spPr bwMode="auto">
                <a:xfrm rot="5400000">
                  <a:off x="4482499" y="648852"/>
                  <a:ext cx="271936" cy="13419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53" name="Picture 4" descr="https://encrypted-tbn1.gstatic.com/images?q=tbn:ANd9GcSf3c4EKIO3as8bw4CHYHAJM8_RyhjNw5g95DjL7xC0khru5ZT2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lum bright="70000" contrast="-70000"/>
                </a:blip>
                <a:srcRect r="79008" b="-3592"/>
                <a:stretch>
                  <a:fillRect/>
                </a:stretch>
              </p:blipFill>
              <p:spPr bwMode="auto">
                <a:xfrm rot="5400000">
                  <a:off x="4177693" y="1259772"/>
                  <a:ext cx="271936" cy="134193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grpSp>
          <p:nvGrpSpPr>
            <p:cNvPr id="65" name="Group 74"/>
            <p:cNvGrpSpPr>
              <a:grpSpLocks/>
            </p:cNvGrpSpPr>
            <p:nvPr/>
          </p:nvGrpSpPr>
          <p:grpSpPr bwMode="auto">
            <a:xfrm rot="5400000">
              <a:off x="3550444" y="1512094"/>
              <a:ext cx="268287" cy="3051175"/>
              <a:chOff x="-376831" y="1324114"/>
              <a:chExt cx="273911" cy="3305289"/>
            </a:xfrm>
          </p:grpSpPr>
          <p:pic>
            <p:nvPicPr>
              <p:cNvPr id="66" name="Picture 4" descr="https://encrypted-tbn1.gstatic.com/images?q=tbn:ANd9GcSf3c4EKIO3as8bw4CHYHAJM8_RyhjNw5g95DjL7xC0khru5ZT2"/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bright="70000" contrast="-70000"/>
              </a:blip>
              <a:srcRect r="79008" b="-3592"/>
              <a:stretch>
                <a:fillRect/>
              </a:stretch>
            </p:blipFill>
            <p:spPr bwMode="auto">
              <a:xfrm>
                <a:off x="-374856" y="3287470"/>
                <a:ext cx="271936" cy="13419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7" name="Picture 4" descr="https://encrypted-tbn1.gstatic.com/images?q=tbn:ANd9GcSf3c4EKIO3as8bw4CHYHAJM8_RyhjNw5g95DjL7xC0khru5ZT2"/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bright="70000" contrast="-70000"/>
              </a:blip>
              <a:srcRect r="79008" b="-3592"/>
              <a:stretch>
                <a:fillRect/>
              </a:stretch>
            </p:blipFill>
            <p:spPr bwMode="auto">
              <a:xfrm>
                <a:off x="-374856" y="2311714"/>
                <a:ext cx="271936" cy="13419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8" name="Picture 4" descr="https://encrypted-tbn1.gstatic.com/images?q=tbn:ANd9GcSf3c4EKIO3as8bw4CHYHAJM8_RyhjNw5g95DjL7xC0khru5ZT2"/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bright="70000" contrast="-70000"/>
              </a:blip>
              <a:srcRect r="79008" b="-3592"/>
              <a:stretch>
                <a:fillRect/>
              </a:stretch>
            </p:blipFill>
            <p:spPr bwMode="auto">
              <a:xfrm>
                <a:off x="-376831" y="1324114"/>
                <a:ext cx="271936" cy="13419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69" name="Picture 4" descr="https://encrypted-tbn1.gstatic.com/images?q=tbn:ANd9GcSf3c4EKIO3as8bw4CHYHAJM8_RyhjNw5g95DjL7xC0khru5ZT2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70000" contrast="-70000"/>
            </a:blip>
            <a:srcRect l="-3592" b="79008"/>
            <a:stretch>
              <a:fillRect/>
            </a:stretch>
          </p:blipFill>
          <p:spPr bwMode="auto">
            <a:xfrm>
              <a:off x="3929063" y="2206625"/>
              <a:ext cx="1239837" cy="266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0" name="Picture 6" descr="https://encrypted-tbn0.gstatic.com/images?q=tbn:ANd9GcS5NqC3rwKzhwwH7gA4dtYQ51oAoU4jVzkTnVmVPH5MdmWlUUSz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lum bright="70000" contrast="-70000"/>
            </a:blip>
            <a:srcRect l="22983" t="11249" r="44807" b="77228"/>
            <a:stretch>
              <a:fillRect/>
            </a:stretch>
          </p:blipFill>
          <p:spPr bwMode="auto">
            <a:xfrm>
              <a:off x="468313" y="1646238"/>
              <a:ext cx="622300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" name="Picture 6" descr="https://encrypted-tbn0.gstatic.com/images?q=tbn:ANd9GcS5NqC3rwKzhwwH7gA4dtYQ51oAoU4jVzkTnVmVPH5MdmWlUUSz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lum bright="70000" contrast="-70000"/>
            </a:blip>
            <a:srcRect l="3343" t="9616" r="71153" b="75050"/>
            <a:stretch>
              <a:fillRect/>
            </a:stretch>
          </p:blipFill>
          <p:spPr bwMode="auto">
            <a:xfrm rot="3600000" flipH="1">
              <a:off x="950119" y="1921669"/>
              <a:ext cx="523875" cy="309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" name="Picture 3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4852988" y="1484313"/>
              <a:ext cx="1362075" cy="355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3" name="Picture 6" descr="https://encrypted-tbn0.gstatic.com/images?q=tbn:ANd9GcS5NqC3rwKzhwwH7gA4dtYQ51oAoU4jVzkTnVmVPH5MdmWlUUSz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lum bright="70000" contrast="-70000"/>
            </a:blip>
            <a:srcRect l="-250" t="10251" r="3343" b="75050"/>
            <a:stretch>
              <a:fillRect/>
            </a:stretch>
          </p:blipFill>
          <p:spPr bwMode="auto">
            <a:xfrm>
              <a:off x="2822575" y="2887663"/>
              <a:ext cx="1874838" cy="314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4" name="Picture 6" descr="https://encrypted-tbn0.gstatic.com/images?q=tbn:ANd9GcS5NqC3rwKzhwwH7gA4dtYQ51oAoU4jVzkTnVmVPH5MdmWlUUSz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lum bright="70000" contrast="-70000"/>
            </a:blip>
            <a:srcRect l="-250" t="10251" r="3343" b="75050"/>
            <a:stretch>
              <a:fillRect/>
            </a:stretch>
          </p:blipFill>
          <p:spPr bwMode="auto">
            <a:xfrm>
              <a:off x="2159000" y="2170113"/>
              <a:ext cx="1874838" cy="314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5" name="Picture 6" descr="https://encrypted-tbn0.gstatic.com/images?q=tbn:ANd9GcS5NqC3rwKzhwwH7gA4dtYQ51oAoU4jVzkTnVmVPH5MdmWlUUSz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lum bright="70000" contrast="-70000"/>
            </a:blip>
            <a:srcRect l="-250" t="10251" r="3343" b="75050"/>
            <a:stretch>
              <a:fillRect/>
            </a:stretch>
          </p:blipFill>
          <p:spPr bwMode="auto">
            <a:xfrm>
              <a:off x="1281113" y="1585913"/>
              <a:ext cx="1874837" cy="314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 of a Private Freight Terminal</a:t>
            </a:r>
          </a:p>
        </p:txBody>
      </p:sp>
    </p:spTree>
    <p:extLst>
      <p:ext uri="{BB962C8B-B14F-4D97-AF65-F5344CB8AC3E}">
        <p14:creationId xmlns:p14="http://schemas.microsoft.com/office/powerpoint/2010/main" xmlns="" val="178830011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8759C32-C269-4A04-ABDB-385907FA5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CDs around Delhi / NCR</a:t>
            </a:r>
          </a:p>
        </p:txBody>
      </p:sp>
      <p:sp>
        <p:nvSpPr>
          <p:cNvPr id="5" name="Slide Number Placeholder 23">
            <a:extLst>
              <a:ext uri="{FF2B5EF4-FFF2-40B4-BE49-F238E27FC236}">
                <a16:creationId xmlns:a16="http://schemas.microsoft.com/office/drawing/2014/main" xmlns="" id="{066E67EA-1316-48B0-94C3-4F86E56FC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320" y="6193790"/>
            <a:ext cx="762000" cy="365125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D3394275-2431-440A-9E20-2ED639DB6995}" type="slidenum">
              <a:rPr lang="en-US" altLang="en-US">
                <a:solidFill>
                  <a:srgbClr val="045C75"/>
                </a:solidFill>
              </a:rPr>
              <a:pPr eaLnBrk="1" hangingPunct="1"/>
              <a:t>8</a:t>
            </a:fld>
            <a:endParaRPr lang="en-US" altLang="en-US">
              <a:solidFill>
                <a:srgbClr val="045C75"/>
              </a:solidFill>
            </a:endParaRPr>
          </a:p>
        </p:txBody>
      </p:sp>
      <p:grpSp>
        <p:nvGrpSpPr>
          <p:cNvPr id="6" name="Group 15">
            <a:extLst>
              <a:ext uri="{FF2B5EF4-FFF2-40B4-BE49-F238E27FC236}">
                <a16:creationId xmlns:a16="http://schemas.microsoft.com/office/drawing/2014/main" xmlns="" id="{C8D546C2-F0E8-4057-88EE-5E17F6BA1808}"/>
              </a:ext>
            </a:extLst>
          </p:cNvPr>
          <p:cNvGrpSpPr>
            <a:grpSpLocks/>
          </p:cNvGrpSpPr>
          <p:nvPr/>
        </p:nvGrpSpPr>
        <p:grpSpPr bwMode="auto">
          <a:xfrm>
            <a:off x="274320" y="1056640"/>
            <a:ext cx="8534400" cy="5014913"/>
            <a:chOff x="1192081" y="1156732"/>
            <a:chExt cx="7162961" cy="4582632"/>
          </a:xfrm>
        </p:grpSpPr>
        <p:pic>
          <p:nvPicPr>
            <p:cNvPr id="7" name="Picture 11">
              <a:extLst>
                <a:ext uri="{FF2B5EF4-FFF2-40B4-BE49-F238E27FC236}">
                  <a16:creationId xmlns:a16="http://schemas.microsoft.com/office/drawing/2014/main" xmlns="" id="{C7E563D3-4F67-4CA9-B738-3279816EE0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2081" y="1156732"/>
              <a:ext cx="7162961" cy="4582632"/>
            </a:xfrm>
            <a:prstGeom prst="rect">
              <a:avLst/>
            </a:prstGeom>
            <a:noFill/>
            <a:ln w="3810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xmlns="" id="{3EF1FEFD-FA1E-48F3-98C5-01174F99FA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2558" y="1721736"/>
              <a:ext cx="327025" cy="138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Text Box 31">
            <a:extLst>
              <a:ext uri="{FF2B5EF4-FFF2-40B4-BE49-F238E27FC236}">
                <a16:creationId xmlns:a16="http://schemas.microsoft.com/office/drawing/2014/main" xmlns="" id="{B1BEC1CC-A809-4C8C-B29A-1C27795958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7820" y="2209165"/>
            <a:ext cx="13446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100" b="1">
                <a:latin typeface="Calibri" panose="020F0502020204030204" pitchFamily="34" charset="0"/>
              </a:rPr>
              <a:t>Gzb/Noida</a:t>
            </a:r>
          </a:p>
        </p:txBody>
      </p:sp>
      <p:sp>
        <p:nvSpPr>
          <p:cNvPr id="10" name="Text Box 35">
            <a:hlinkClick r:id="" action="ppaction://noaction"/>
            <a:extLst>
              <a:ext uri="{FF2B5EF4-FFF2-40B4-BE49-F238E27FC236}">
                <a16:creationId xmlns:a16="http://schemas.microsoft.com/office/drawing/2014/main" xmlns="" id="{64ECA723-BA22-48FB-BC60-1EA540D733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0758" y="3091815"/>
            <a:ext cx="30003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100" b="1">
                <a:latin typeface="Calibri" panose="020F0502020204030204" pitchFamily="34" charset="0"/>
              </a:rPr>
              <a:t>NH-8</a:t>
            </a:r>
          </a:p>
        </p:txBody>
      </p:sp>
      <p:sp>
        <p:nvSpPr>
          <p:cNvPr id="11" name="5-Point Star 50">
            <a:extLst>
              <a:ext uri="{FF2B5EF4-FFF2-40B4-BE49-F238E27FC236}">
                <a16:creationId xmlns:a16="http://schemas.microsoft.com/office/drawing/2014/main" xmlns="" id="{FE97A6F8-4FB6-44F3-8B4B-4047DA4D7B18}"/>
              </a:ext>
            </a:extLst>
          </p:cNvPr>
          <p:cNvSpPr/>
          <p:nvPr/>
        </p:nvSpPr>
        <p:spPr bwMode="auto">
          <a:xfrm>
            <a:off x="3307637" y="1053465"/>
            <a:ext cx="225425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12" name="TextBox 51">
            <a:extLst>
              <a:ext uri="{FF2B5EF4-FFF2-40B4-BE49-F238E27FC236}">
                <a16:creationId xmlns:a16="http://schemas.microsoft.com/office/drawing/2014/main" xmlns="" id="{106399BB-47E1-403C-8946-ACDA55B28E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51999" y="1089682"/>
            <a:ext cx="655638" cy="276225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dirty="0">
                <a:solidFill>
                  <a:schemeClr val="bg1"/>
                </a:solidFill>
                <a:latin typeface="Calibri" panose="020F0502020204030204" pitchFamily="34" charset="0"/>
              </a:rPr>
              <a:t>Panipat</a:t>
            </a:r>
          </a:p>
        </p:txBody>
      </p:sp>
      <p:sp>
        <p:nvSpPr>
          <p:cNvPr id="13" name="5-Point Star 54">
            <a:extLst>
              <a:ext uri="{FF2B5EF4-FFF2-40B4-BE49-F238E27FC236}">
                <a16:creationId xmlns:a16="http://schemas.microsoft.com/office/drawing/2014/main" xmlns="" id="{E76DA12E-6CD6-4579-9662-F71FBA7B90BC}"/>
              </a:ext>
            </a:extLst>
          </p:cNvPr>
          <p:cNvSpPr/>
          <p:nvPr/>
        </p:nvSpPr>
        <p:spPr bwMode="auto">
          <a:xfrm>
            <a:off x="6622733" y="2145665"/>
            <a:ext cx="227012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14" name="TextBox 55">
            <a:extLst>
              <a:ext uri="{FF2B5EF4-FFF2-40B4-BE49-F238E27FC236}">
                <a16:creationId xmlns:a16="http://schemas.microsoft.com/office/drawing/2014/main" xmlns="" id="{39F5F255-F71D-4E4C-BB31-6B70CC82CD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64045" y="2037715"/>
            <a:ext cx="654050" cy="276225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>
                <a:solidFill>
                  <a:schemeClr val="bg1"/>
                </a:solidFill>
                <a:latin typeface="Calibri" panose="020F0502020204030204" pitchFamily="34" charset="0"/>
              </a:rPr>
              <a:t>Loni</a:t>
            </a:r>
          </a:p>
        </p:txBody>
      </p:sp>
      <p:sp>
        <p:nvSpPr>
          <p:cNvPr id="15" name="5-Point Star 56">
            <a:extLst>
              <a:ext uri="{FF2B5EF4-FFF2-40B4-BE49-F238E27FC236}">
                <a16:creationId xmlns:a16="http://schemas.microsoft.com/office/drawing/2014/main" xmlns="" id="{85450B50-7A7D-4631-827A-68532BBD671C}"/>
              </a:ext>
            </a:extLst>
          </p:cNvPr>
          <p:cNvSpPr/>
          <p:nvPr/>
        </p:nvSpPr>
        <p:spPr bwMode="auto">
          <a:xfrm>
            <a:off x="7468870" y="3485515"/>
            <a:ext cx="227013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16" name="TextBox 57">
            <a:extLst>
              <a:ext uri="{FF2B5EF4-FFF2-40B4-BE49-F238E27FC236}">
                <a16:creationId xmlns:a16="http://schemas.microsoft.com/office/drawing/2014/main" xmlns="" id="{02472C8C-9E23-44E6-9F41-6BBEF5F02C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10183" y="3375978"/>
            <a:ext cx="654050" cy="277812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>
                <a:solidFill>
                  <a:schemeClr val="bg1"/>
                </a:solidFill>
                <a:latin typeface="Calibri" panose="020F0502020204030204" pitchFamily="34" charset="0"/>
              </a:rPr>
              <a:t>Dadri</a:t>
            </a:r>
          </a:p>
        </p:txBody>
      </p:sp>
      <p:sp>
        <p:nvSpPr>
          <p:cNvPr id="17" name="5-Point Star 58">
            <a:extLst>
              <a:ext uri="{FF2B5EF4-FFF2-40B4-BE49-F238E27FC236}">
                <a16:creationId xmlns:a16="http://schemas.microsoft.com/office/drawing/2014/main" xmlns="" id="{F6BC38F3-BB0C-4400-928F-013A0B3E16A5}"/>
              </a:ext>
            </a:extLst>
          </p:cNvPr>
          <p:cNvSpPr/>
          <p:nvPr/>
        </p:nvSpPr>
        <p:spPr bwMode="auto">
          <a:xfrm>
            <a:off x="5151120" y="5123815"/>
            <a:ext cx="227013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18" name="TextBox 59">
            <a:extLst>
              <a:ext uri="{FF2B5EF4-FFF2-40B4-BE49-F238E27FC236}">
                <a16:creationId xmlns:a16="http://schemas.microsoft.com/office/drawing/2014/main" xmlns="" id="{218A0234-6B49-41B2-B332-F8C0650FE8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0845" y="5014278"/>
            <a:ext cx="877888" cy="277812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dirty="0">
                <a:solidFill>
                  <a:schemeClr val="bg1"/>
                </a:solidFill>
                <a:latin typeface="Calibri" panose="020F0502020204030204" pitchFamily="34" charset="0"/>
              </a:rPr>
              <a:t>Faridabad</a:t>
            </a:r>
          </a:p>
        </p:txBody>
      </p:sp>
      <p:sp>
        <p:nvSpPr>
          <p:cNvPr id="19" name="5-Point Star 60">
            <a:extLst>
              <a:ext uri="{FF2B5EF4-FFF2-40B4-BE49-F238E27FC236}">
                <a16:creationId xmlns:a16="http://schemas.microsoft.com/office/drawing/2014/main" xmlns="" id="{9BE392C1-9B1E-4758-B08A-82EA4201B545}"/>
              </a:ext>
            </a:extLst>
          </p:cNvPr>
          <p:cNvSpPr/>
          <p:nvPr/>
        </p:nvSpPr>
        <p:spPr bwMode="auto">
          <a:xfrm>
            <a:off x="4546283" y="3636328"/>
            <a:ext cx="227012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20" name="TextBox 61">
            <a:extLst>
              <a:ext uri="{FF2B5EF4-FFF2-40B4-BE49-F238E27FC236}">
                <a16:creationId xmlns:a16="http://schemas.microsoft.com/office/drawing/2014/main" xmlns="" id="{043A21A1-C004-4297-ABC6-A53370D2EB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87595" y="3526790"/>
            <a:ext cx="654050" cy="277813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>
                <a:solidFill>
                  <a:schemeClr val="bg1"/>
                </a:solidFill>
                <a:latin typeface="Calibri" panose="020F0502020204030204" pitchFamily="34" charset="0"/>
              </a:rPr>
              <a:t>TKD</a:t>
            </a:r>
          </a:p>
        </p:txBody>
      </p:sp>
      <p:sp>
        <p:nvSpPr>
          <p:cNvPr id="21" name="5-Point Star 62">
            <a:extLst>
              <a:ext uri="{FF2B5EF4-FFF2-40B4-BE49-F238E27FC236}">
                <a16:creationId xmlns:a16="http://schemas.microsoft.com/office/drawing/2014/main" xmlns="" id="{AB87FB67-9DC1-46D5-A0F2-04947D709E5E}"/>
              </a:ext>
            </a:extLst>
          </p:cNvPr>
          <p:cNvSpPr/>
          <p:nvPr/>
        </p:nvSpPr>
        <p:spPr bwMode="auto">
          <a:xfrm>
            <a:off x="3841433" y="2244090"/>
            <a:ext cx="227012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22" name="TextBox 63">
            <a:extLst>
              <a:ext uri="{FF2B5EF4-FFF2-40B4-BE49-F238E27FC236}">
                <a16:creationId xmlns:a16="http://schemas.microsoft.com/office/drawing/2014/main" xmlns="" id="{8182656A-9E74-47F6-837D-F57247DA16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81158" y="2134553"/>
            <a:ext cx="852487" cy="277812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>
                <a:solidFill>
                  <a:schemeClr val="bg1"/>
                </a:solidFill>
                <a:latin typeface="Calibri" panose="020F0502020204030204" pitchFamily="34" charset="0"/>
              </a:rPr>
              <a:t>Patparganj</a:t>
            </a:r>
          </a:p>
        </p:txBody>
      </p:sp>
      <p:sp>
        <p:nvSpPr>
          <p:cNvPr id="23" name="5-Point Star 64">
            <a:extLst>
              <a:ext uri="{FF2B5EF4-FFF2-40B4-BE49-F238E27FC236}">
                <a16:creationId xmlns:a16="http://schemas.microsoft.com/office/drawing/2014/main" xmlns="" id="{E5C7F3ED-FA2B-4D46-80FE-0ABD574CC00C}"/>
              </a:ext>
            </a:extLst>
          </p:cNvPr>
          <p:cNvSpPr/>
          <p:nvPr/>
        </p:nvSpPr>
        <p:spPr bwMode="auto">
          <a:xfrm>
            <a:off x="956945" y="4523740"/>
            <a:ext cx="225425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24" name="TextBox 65">
            <a:extLst>
              <a:ext uri="{FF2B5EF4-FFF2-40B4-BE49-F238E27FC236}">
                <a16:creationId xmlns:a16="http://schemas.microsoft.com/office/drawing/2014/main" xmlns="" id="{923E347F-9CEB-4965-86CB-F5D631C602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6670" y="4414203"/>
            <a:ext cx="655638" cy="276225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>
                <a:solidFill>
                  <a:schemeClr val="bg1"/>
                </a:solidFill>
                <a:latin typeface="Calibri" panose="020F0502020204030204" pitchFamily="34" charset="0"/>
              </a:rPr>
              <a:t>Patli</a:t>
            </a:r>
          </a:p>
        </p:txBody>
      </p:sp>
      <p:sp>
        <p:nvSpPr>
          <p:cNvPr id="25" name="Left Arrow 66">
            <a:extLst>
              <a:ext uri="{FF2B5EF4-FFF2-40B4-BE49-F238E27FC236}">
                <a16:creationId xmlns:a16="http://schemas.microsoft.com/office/drawing/2014/main" xmlns="" id="{CDBC37F6-D6C2-47BC-B3BA-5B4A5C7165F4}"/>
              </a:ext>
            </a:extLst>
          </p:cNvPr>
          <p:cNvSpPr>
            <a:spLocks noChangeArrowheads="1"/>
          </p:cNvSpPr>
          <p:nvPr/>
        </p:nvSpPr>
        <p:spPr bwMode="auto">
          <a:xfrm rot="18819711">
            <a:off x="558483" y="5200015"/>
            <a:ext cx="1677987" cy="430213"/>
          </a:xfrm>
          <a:prstGeom prst="leftArrow">
            <a:avLst>
              <a:gd name="adj1" fmla="val 50000"/>
              <a:gd name="adj2" fmla="val 50091"/>
            </a:avLst>
          </a:prstGeom>
          <a:solidFill>
            <a:srgbClr val="C00000"/>
          </a:solidFill>
          <a:ln w="9525" algn="ctr">
            <a:solidFill>
              <a:schemeClr val="tx2"/>
            </a:solidFill>
            <a:round/>
            <a:headEnd/>
            <a:tailEnd type="triangle" w="med" len="med"/>
          </a:ln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dirty="0">
                <a:solidFill>
                  <a:schemeClr val="bg1"/>
                </a:solidFill>
                <a:latin typeface="Tahoma" panose="020B0604030504040204" pitchFamily="34" charset="0"/>
              </a:rPr>
              <a:t>Rewari and </a:t>
            </a:r>
            <a:r>
              <a:rPr lang="en-US" altLang="en-US" sz="1200" dirty="0" err="1">
                <a:solidFill>
                  <a:schemeClr val="bg1"/>
                </a:solidFill>
                <a:latin typeface="Tahoma" panose="020B0604030504040204" pitchFamily="34" charset="0"/>
              </a:rPr>
              <a:t>Bhiwadi</a:t>
            </a:r>
            <a:endParaRPr lang="en-US" altLang="en-US" sz="1200" dirty="0">
              <a:solidFill>
                <a:schemeClr val="bg1"/>
              </a:solidFill>
              <a:latin typeface="Tahoma" panose="020B0604030504040204" pitchFamily="34" charset="0"/>
            </a:endParaRPr>
          </a:p>
        </p:txBody>
      </p:sp>
      <p:sp>
        <p:nvSpPr>
          <p:cNvPr id="26" name="5-Point Star 58">
            <a:extLst>
              <a:ext uri="{FF2B5EF4-FFF2-40B4-BE49-F238E27FC236}">
                <a16:creationId xmlns:a16="http://schemas.microsoft.com/office/drawing/2014/main" xmlns="" id="{56D3E0E1-3550-434A-85F3-E13B0709FA31}"/>
              </a:ext>
            </a:extLst>
          </p:cNvPr>
          <p:cNvSpPr/>
          <p:nvPr/>
        </p:nvSpPr>
        <p:spPr bwMode="auto">
          <a:xfrm>
            <a:off x="5152707" y="5396865"/>
            <a:ext cx="227013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27" name="TextBox 59">
            <a:extLst>
              <a:ext uri="{FF2B5EF4-FFF2-40B4-BE49-F238E27FC236}">
                <a16:creationId xmlns:a16="http://schemas.microsoft.com/office/drawing/2014/main" xmlns="" id="{C96E2266-00E5-4325-8A7A-6AAC119BB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2432" y="5323840"/>
            <a:ext cx="877888" cy="277812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dirty="0" err="1">
                <a:solidFill>
                  <a:schemeClr val="bg1"/>
                </a:solidFill>
                <a:latin typeface="Calibri" panose="020F0502020204030204" pitchFamily="34" charset="0"/>
              </a:rPr>
              <a:t>Asaoti</a:t>
            </a:r>
            <a:endParaRPr lang="en-US" altLang="en-US" sz="12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8" name="5-Point Star 50">
            <a:extLst>
              <a:ext uri="{FF2B5EF4-FFF2-40B4-BE49-F238E27FC236}">
                <a16:creationId xmlns:a16="http://schemas.microsoft.com/office/drawing/2014/main" xmlns="" id="{0EA8FCBF-9B48-4C79-91C0-5C75EE4F6056}"/>
              </a:ext>
            </a:extLst>
          </p:cNvPr>
          <p:cNvSpPr/>
          <p:nvPr/>
        </p:nvSpPr>
        <p:spPr bwMode="auto">
          <a:xfrm>
            <a:off x="3401695" y="1361440"/>
            <a:ext cx="225425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29" name="TextBox 51">
            <a:extLst>
              <a:ext uri="{FF2B5EF4-FFF2-40B4-BE49-F238E27FC236}">
                <a16:creationId xmlns:a16="http://schemas.microsoft.com/office/drawing/2014/main" xmlns="" id="{CC550AE3-85F9-4575-8B17-1D585A3727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51999" y="1397657"/>
            <a:ext cx="749696" cy="276999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dirty="0" err="1">
                <a:solidFill>
                  <a:schemeClr val="bg1"/>
                </a:solidFill>
                <a:latin typeface="Calibri" panose="020F0502020204030204" pitchFamily="34" charset="0"/>
              </a:rPr>
              <a:t>Sonepat</a:t>
            </a:r>
            <a:endParaRPr lang="en-US" altLang="en-US" sz="12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5681635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809D6E6-A24D-4B10-A7CF-589805CA7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CDs around Ludhiana, Punjab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4E876AA-5D37-438A-B607-40373D7532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926" y="1004054"/>
            <a:ext cx="8530148" cy="4849892"/>
          </a:xfrm>
          <a:prstGeom prst="rect">
            <a:avLst/>
          </a:prstGeom>
        </p:spPr>
      </p:pic>
      <p:sp>
        <p:nvSpPr>
          <p:cNvPr id="7" name="5-Point Star 62">
            <a:extLst>
              <a:ext uri="{FF2B5EF4-FFF2-40B4-BE49-F238E27FC236}">
                <a16:creationId xmlns:a16="http://schemas.microsoft.com/office/drawing/2014/main" xmlns="" id="{942E5A30-1E06-440A-9815-777ECF937A7A}"/>
              </a:ext>
            </a:extLst>
          </p:cNvPr>
          <p:cNvSpPr/>
          <p:nvPr/>
        </p:nvSpPr>
        <p:spPr bwMode="auto">
          <a:xfrm>
            <a:off x="5070793" y="3615690"/>
            <a:ext cx="227012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8" name="TextBox 63">
            <a:extLst>
              <a:ext uri="{FF2B5EF4-FFF2-40B4-BE49-F238E27FC236}">
                <a16:creationId xmlns:a16="http://schemas.microsoft.com/office/drawing/2014/main" xmlns="" id="{3758AF56-EB35-403E-8840-6CA070AFFF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22633" y="3877945"/>
            <a:ext cx="1126807" cy="276999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dirty="0">
                <a:solidFill>
                  <a:schemeClr val="bg1"/>
                </a:solidFill>
                <a:latin typeface="Calibri" panose="020F0502020204030204" pitchFamily="34" charset="0"/>
              </a:rPr>
              <a:t>ICD </a:t>
            </a:r>
            <a:r>
              <a:rPr lang="en-US" altLang="en-US" sz="1200" dirty="0" err="1">
                <a:solidFill>
                  <a:schemeClr val="bg1"/>
                </a:solidFill>
                <a:latin typeface="Calibri" panose="020F0502020204030204" pitchFamily="34" charset="0"/>
              </a:rPr>
              <a:t>Kanech</a:t>
            </a:r>
            <a:endParaRPr lang="en-US" altLang="en-US" sz="12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5-Point Star 62">
            <a:extLst>
              <a:ext uri="{FF2B5EF4-FFF2-40B4-BE49-F238E27FC236}">
                <a16:creationId xmlns:a16="http://schemas.microsoft.com/office/drawing/2014/main" xmlns="" id="{376D23BB-8C80-430C-9F44-019A2D435460}"/>
              </a:ext>
            </a:extLst>
          </p:cNvPr>
          <p:cNvSpPr/>
          <p:nvPr/>
        </p:nvSpPr>
        <p:spPr bwMode="auto">
          <a:xfrm>
            <a:off x="5507673" y="3958213"/>
            <a:ext cx="227012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10" name="TextBox 63">
            <a:extLst>
              <a:ext uri="{FF2B5EF4-FFF2-40B4-BE49-F238E27FC236}">
                <a16:creationId xmlns:a16="http://schemas.microsoft.com/office/drawing/2014/main" xmlns="" id="{B43CE419-4637-4956-B1A4-30C1F4FC41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69878" y="3526473"/>
            <a:ext cx="1386522" cy="276999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dirty="0">
                <a:solidFill>
                  <a:schemeClr val="bg1"/>
                </a:solidFill>
                <a:latin typeface="Calibri" panose="020F0502020204030204" pitchFamily="34" charset="0"/>
              </a:rPr>
              <a:t>ICD </a:t>
            </a:r>
            <a:r>
              <a:rPr lang="en-US" altLang="en-US" sz="1200" dirty="0" err="1">
                <a:solidFill>
                  <a:schemeClr val="bg1"/>
                </a:solidFill>
                <a:latin typeface="Calibri" panose="020F0502020204030204" pitchFamily="34" charset="0"/>
              </a:rPr>
              <a:t>Sahnewal</a:t>
            </a:r>
            <a:endParaRPr lang="en-US" altLang="en-US" sz="12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5-Point Star 62">
            <a:extLst>
              <a:ext uri="{FF2B5EF4-FFF2-40B4-BE49-F238E27FC236}">
                <a16:creationId xmlns:a16="http://schemas.microsoft.com/office/drawing/2014/main" xmlns="" id="{D909C28C-4429-490F-B13C-26492BEE5515}"/>
              </a:ext>
            </a:extLst>
          </p:cNvPr>
          <p:cNvSpPr/>
          <p:nvPr/>
        </p:nvSpPr>
        <p:spPr bwMode="auto">
          <a:xfrm>
            <a:off x="7112953" y="5007610"/>
            <a:ext cx="227012" cy="231775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bg1"/>
              </a:solidFill>
              <a:latin typeface="Tahoma" pitchFamily="34" charset="0"/>
              <a:cs typeface="+mn-cs"/>
            </a:endParaRPr>
          </a:p>
        </p:txBody>
      </p:sp>
      <p:sp>
        <p:nvSpPr>
          <p:cNvPr id="12" name="TextBox 63">
            <a:extLst>
              <a:ext uri="{FF2B5EF4-FFF2-40B4-BE49-F238E27FC236}">
                <a16:creationId xmlns:a16="http://schemas.microsoft.com/office/drawing/2014/main" xmlns="" id="{CBA5623E-0E5B-403E-B246-033CE4FC9A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52678" y="4898073"/>
            <a:ext cx="852487" cy="277812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dirty="0">
                <a:solidFill>
                  <a:schemeClr val="bg1"/>
                </a:solidFill>
                <a:latin typeface="Calibri" panose="020F0502020204030204" pitchFamily="34" charset="0"/>
              </a:rPr>
              <a:t>ICD </a:t>
            </a:r>
            <a:r>
              <a:rPr lang="en-US" altLang="en-US" sz="1200" dirty="0" err="1">
                <a:solidFill>
                  <a:schemeClr val="bg1"/>
                </a:solidFill>
                <a:latin typeface="Calibri" panose="020F0502020204030204" pitchFamily="34" charset="0"/>
              </a:rPr>
              <a:t>Chawa</a:t>
            </a:r>
            <a:endParaRPr lang="en-US" altLang="en-US" sz="12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Left Arrow 66">
            <a:extLst>
              <a:ext uri="{FF2B5EF4-FFF2-40B4-BE49-F238E27FC236}">
                <a16:creationId xmlns:a16="http://schemas.microsoft.com/office/drawing/2014/main" xmlns="" id="{744D7C23-DD02-4A22-9E54-DD0018FB8494}"/>
              </a:ext>
            </a:extLst>
          </p:cNvPr>
          <p:cNvSpPr>
            <a:spLocks noChangeArrowheads="1"/>
          </p:cNvSpPr>
          <p:nvPr/>
        </p:nvSpPr>
        <p:spPr bwMode="auto">
          <a:xfrm rot="18819711">
            <a:off x="1656667" y="5032925"/>
            <a:ext cx="1409622" cy="430213"/>
          </a:xfrm>
          <a:prstGeom prst="leftArrow">
            <a:avLst>
              <a:gd name="adj1" fmla="val 50000"/>
              <a:gd name="adj2" fmla="val 50091"/>
            </a:avLst>
          </a:prstGeom>
          <a:solidFill>
            <a:srgbClr val="C00000"/>
          </a:solidFill>
          <a:ln w="9525" algn="ctr">
            <a:solidFill>
              <a:schemeClr val="tx2"/>
            </a:solidFill>
            <a:round/>
            <a:headEnd/>
            <a:tailEnd type="triangle" w="med" len="med"/>
          </a:ln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dirty="0">
                <a:solidFill>
                  <a:schemeClr val="bg1"/>
                </a:solidFill>
                <a:latin typeface="Tahoma" panose="020B0604030504040204" pitchFamily="34" charset="0"/>
              </a:rPr>
              <a:t>Kila Raipur</a:t>
            </a:r>
          </a:p>
        </p:txBody>
      </p:sp>
    </p:spTree>
    <p:extLst>
      <p:ext uri="{BB962C8B-B14F-4D97-AF65-F5344CB8AC3E}">
        <p14:creationId xmlns:p14="http://schemas.microsoft.com/office/powerpoint/2010/main" xmlns="" val="391737136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0BIe_IHUyHeT40asWd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0BIe_IHUyHeT40asWdNA"/>
</p:tagLst>
</file>

<file path=ppt/theme/theme1.xml><?xml version="1.0" encoding="utf-8"?>
<a:theme xmlns:a="http://schemas.openxmlformats.org/drawingml/2006/main" name="596TGp_Wine_light_ani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Custom 4">
      <a:majorFont>
        <a:latin typeface="Segoe"/>
        <a:ea typeface=""/>
        <a:cs typeface=""/>
      </a:majorFont>
      <a:minorFont>
        <a:latin typeface="Sego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dk1"/>
          </a:solidFill>
          <a:headEnd type="none" w="med" len="med"/>
          <a:tailEnd type="arrow" w="med" len="med"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/>
        </a:fontRef>
      </a:style>
    </a:lnDef>
  </a:objectDefaults>
  <a:extraClrSchemeLst>
    <a:extraClrScheme>
      <a:clrScheme name="c_1 1">
        <a:dk1>
          <a:srgbClr val="000000"/>
        </a:dk1>
        <a:lt1>
          <a:srgbClr val="FFFFFF"/>
        </a:lt1>
        <a:dk2>
          <a:srgbClr val="0F5B65"/>
        </a:dk2>
        <a:lt2>
          <a:srgbClr val="DDDDDD"/>
        </a:lt2>
        <a:accent1>
          <a:srgbClr val="E1B037"/>
        </a:accent1>
        <a:accent2>
          <a:srgbClr val="53B586"/>
        </a:accent2>
        <a:accent3>
          <a:srgbClr val="FFFFFF"/>
        </a:accent3>
        <a:accent4>
          <a:srgbClr val="000000"/>
        </a:accent4>
        <a:accent5>
          <a:srgbClr val="EED4AE"/>
        </a:accent5>
        <a:accent6>
          <a:srgbClr val="4AA479"/>
        </a:accent6>
        <a:hlink>
          <a:srgbClr val="C7D476"/>
        </a:hlink>
        <a:folHlink>
          <a:srgbClr val="5CA2E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_1 2">
        <a:dk1>
          <a:srgbClr val="000000"/>
        </a:dk1>
        <a:lt1>
          <a:srgbClr val="FFFFFF"/>
        </a:lt1>
        <a:dk2>
          <a:srgbClr val="670D0D"/>
        </a:dk2>
        <a:lt2>
          <a:srgbClr val="DDDDDD"/>
        </a:lt2>
        <a:accent1>
          <a:srgbClr val="539FC5"/>
        </a:accent1>
        <a:accent2>
          <a:srgbClr val="7F76B8"/>
        </a:accent2>
        <a:accent3>
          <a:srgbClr val="FFFFFF"/>
        </a:accent3>
        <a:accent4>
          <a:srgbClr val="000000"/>
        </a:accent4>
        <a:accent5>
          <a:srgbClr val="B3CDDF"/>
        </a:accent5>
        <a:accent6>
          <a:srgbClr val="726AA6"/>
        </a:accent6>
        <a:hlink>
          <a:srgbClr val="96D2C2"/>
        </a:hlink>
        <a:folHlink>
          <a:srgbClr val="C4AB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_1 3">
        <a:dk1>
          <a:srgbClr val="000000"/>
        </a:dk1>
        <a:lt1>
          <a:srgbClr val="FFFFFF"/>
        </a:lt1>
        <a:dk2>
          <a:srgbClr val="571D57"/>
        </a:dk2>
        <a:lt2>
          <a:srgbClr val="DDDDDD"/>
        </a:lt2>
        <a:accent1>
          <a:srgbClr val="D26464"/>
        </a:accent1>
        <a:accent2>
          <a:srgbClr val="FBA993"/>
        </a:accent2>
        <a:accent3>
          <a:srgbClr val="FFFFFF"/>
        </a:accent3>
        <a:accent4>
          <a:srgbClr val="000000"/>
        </a:accent4>
        <a:accent5>
          <a:srgbClr val="E5B8B8"/>
        </a:accent5>
        <a:accent6>
          <a:srgbClr val="E39985"/>
        </a:accent6>
        <a:hlink>
          <a:srgbClr val="FEA94C"/>
        </a:hlink>
        <a:folHlink>
          <a:srgbClr val="89C3B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0823</TotalTime>
  <Words>1026</Words>
  <Application>Microsoft Office PowerPoint</Application>
  <PresentationFormat>On-screen Show (4:3)</PresentationFormat>
  <Paragraphs>205</Paragraphs>
  <Slides>2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9" baseType="lpstr">
      <vt:lpstr>596TGp_Wine_light_ani</vt:lpstr>
      <vt:lpstr>think-cell Slide</vt:lpstr>
      <vt:lpstr>Pristine Hindustan Infraprojects Pvt. Ltd. (a JV of Pristine Logistics &amp; Infraprojects Pvt. Ltd. &amp; Hindustan Dock Yard Pvt. Ltd.) </vt:lpstr>
      <vt:lpstr>  The Pristine Group</vt:lpstr>
      <vt:lpstr>Our Presence</vt:lpstr>
      <vt:lpstr>Key Information - Terminals &amp; Rail Operations</vt:lpstr>
      <vt:lpstr>Inland Container Depot</vt:lpstr>
      <vt:lpstr>Primary functions of ICD</vt:lpstr>
      <vt:lpstr>Concept of a Private Freight Terminal</vt:lpstr>
      <vt:lpstr>ICDs around Delhi / NCR</vt:lpstr>
      <vt:lpstr>ICDs around Ludhiana, Punjab</vt:lpstr>
      <vt:lpstr>ICDs around Kanpur, Uttar Pradesh</vt:lpstr>
      <vt:lpstr>Our Presence</vt:lpstr>
      <vt:lpstr>ICD Siliguri – Key Highlights</vt:lpstr>
      <vt:lpstr>ICD Siliguri – Operational Overview</vt:lpstr>
      <vt:lpstr>Sea Port Connectivity – ICD Siliguri</vt:lpstr>
      <vt:lpstr>Locational Overview – Catchment Analysis</vt:lpstr>
      <vt:lpstr>Asian Highway – Bangladesh, Nepal &amp; Bhutan</vt:lpstr>
      <vt:lpstr>ICD Siliguri – Nepal Cluster</vt:lpstr>
      <vt:lpstr>Our Offerings</vt:lpstr>
      <vt:lpstr>ICD Siliguri - A Pictorial Snap Shot</vt:lpstr>
      <vt:lpstr>ICD Siliguri - A Pictorial Snap Shot</vt:lpstr>
      <vt:lpstr>ICD Siliguri – Engine Rolling</vt:lpstr>
      <vt:lpstr>Bengal Global Business Summit - 2018</vt:lpstr>
      <vt:lpstr>Pristine Group – Other Terminals</vt:lpstr>
      <vt:lpstr>Pristine Group – Other Terminals</vt:lpstr>
      <vt:lpstr> Pristine Group - Marquee Clientele</vt:lpstr>
      <vt:lpstr> Pristine Group - Marquee Clientele</vt:lpstr>
      <vt:lpstr>Slide 2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One-stop  LOGISTICS SOLUTIONS PARK</dc:title>
  <dc:creator>Ritesh</dc:creator>
  <cp:lastModifiedBy>user</cp:lastModifiedBy>
  <cp:revision>351</cp:revision>
  <dcterms:created xsi:type="dcterms:W3CDTF">2016-01-15T05:08:30Z</dcterms:created>
  <dcterms:modified xsi:type="dcterms:W3CDTF">2018-12-20T08:58:05Z</dcterms:modified>
</cp:coreProperties>
</file>